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61" r:id="rId5"/>
    <p:sldId id="269" r:id="rId6"/>
    <p:sldId id="271" r:id="rId7"/>
    <p:sldId id="270" r:id="rId8"/>
    <p:sldId id="272" r:id="rId9"/>
    <p:sldId id="273" r:id="rId10"/>
    <p:sldId id="274" r:id="rId11"/>
    <p:sldId id="280" r:id="rId12"/>
    <p:sldId id="281" r:id="rId13"/>
    <p:sldId id="275" r:id="rId14"/>
    <p:sldId id="276" r:id="rId15"/>
  </p:sldIdLst>
  <p:sldSz cx="9144000" cy="5143500" type="screen16x9"/>
  <p:notesSz cx="6797675" cy="9926638"/>
  <p:custDataLst>
    <p:tags r:id="rId18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9" userDrawn="1">
          <p15:clr>
            <a:srgbClr val="A4A3A4"/>
          </p15:clr>
        </p15:guide>
        <p15:guide id="2" orient="horz" pos="2826" userDrawn="1">
          <p15:clr>
            <a:srgbClr val="A4A3A4"/>
          </p15:clr>
        </p15:guide>
        <p15:guide id="3" pos="731" userDrawn="1">
          <p15:clr>
            <a:srgbClr val="A4A3A4"/>
          </p15:clr>
        </p15:guide>
        <p15:guide id="4" pos="5029" userDrawn="1">
          <p15:clr>
            <a:srgbClr val="A4A3A4"/>
          </p15:clr>
        </p15:guide>
        <p15:guide id="5" pos="361" userDrawn="1">
          <p15:clr>
            <a:srgbClr val="A4A3A4"/>
          </p15:clr>
        </p15:guide>
        <p15:guide id="6" pos="54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 showGuides="1">
      <p:cViewPr varScale="1">
        <p:scale>
          <a:sx n="145" d="100"/>
          <a:sy n="145" d="100"/>
        </p:scale>
        <p:origin x="624" y="126"/>
      </p:cViewPr>
      <p:guideLst>
        <p:guide orient="horz" pos="629"/>
        <p:guide orient="horz" pos="2826"/>
        <p:guide pos="731"/>
        <p:guide pos="5029"/>
        <p:guide pos="361"/>
        <p:guide pos="5415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napToObjects="1" showGuides="1">
      <p:cViewPr varScale="1">
        <p:scale>
          <a:sx n="85" d="100"/>
          <a:sy n="85" d="100"/>
        </p:scale>
        <p:origin x="2898" y="90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50DB98-16BE-4993-86FE-07D8E5F7BDF9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BBDBD7-74CA-4FC5-9E5D-4E17C1810290}" type="slidenum">
              <a:rPr lang="de-DE" smtClean="0"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4477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03BD63-7B5A-4BAC-A866-68923315AEC2}" type="datetimeFigureOut">
              <a:rPr lang="de-DE" smtClean="0"/>
              <a:t>04.08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365417" y="4715153"/>
            <a:ext cx="6066841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F1B869-E26E-4E1A-9A86-650AABEB3AC6}" type="slidenum">
              <a:rPr lang="de-DE" smtClean="0"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7490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685800" rtl="0" eaLnBrk="1" latinLnBrk="0" hangingPunct="1">
      <a:defRPr sz="9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81000" indent="-81000" algn="l" defTabSz="685800" rtl="0" eaLnBrk="1" latinLnBrk="0" hangingPunct="1">
      <a:buFontTx/>
      <a:buBlip>
        <a:blip r:embed="rId2"/>
      </a:buBlip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62000" indent="-81000" algn="l" defTabSz="685800" rtl="0" eaLnBrk="1" latinLnBrk="0" hangingPunct="1">
      <a:buFontTx/>
      <a:buBlip>
        <a:blip r:embed="rId2"/>
      </a:buBlip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243000" indent="-81000" algn="l" defTabSz="685800" rtl="0" eaLnBrk="1" latinLnBrk="0" hangingPunct="1">
      <a:buFontTx/>
      <a:buBlip>
        <a:blip r:embed="rId2"/>
      </a:buBlip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43000" indent="-81000" algn="l" defTabSz="685800" rtl="0" eaLnBrk="1" latinLnBrk="0" hangingPunct="1">
      <a:buFontTx/>
      <a:buBlip>
        <a:blip r:embed="rId2"/>
      </a:buBlip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43000" indent="-81000" algn="l" defTabSz="685800" rtl="0" eaLnBrk="1" latinLnBrk="0" hangingPunct="1">
      <a:buFontTx/>
      <a:buBlip>
        <a:blip r:embed="rId2"/>
      </a:buBlip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3000" indent="-81000" algn="l" defTabSz="685800" rtl="0" eaLnBrk="1" latinLnBrk="0" hangingPunct="1">
      <a:buFontTx/>
      <a:buBlip>
        <a:blip r:embed="rId2"/>
      </a:buBlip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43000" indent="-81000" algn="l" defTabSz="685800" rtl="0" eaLnBrk="1" latinLnBrk="0" hangingPunct="1">
      <a:buFontTx/>
      <a:buBlip>
        <a:blip r:embed="rId2"/>
      </a:buBlip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F1B869-E26E-4E1A-9A86-650AABEB3AC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03035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+ Unter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fik 2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7" t="29574" r="44838" b="7505"/>
          <a:stretch/>
        </p:blipFill>
        <p:spPr>
          <a:xfrm>
            <a:off x="3026962" y="589911"/>
            <a:ext cx="1503459" cy="151184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75" t="29574" b="7505"/>
          <a:stretch/>
        </p:blipFill>
        <p:spPr>
          <a:xfrm>
            <a:off x="4648199" y="589911"/>
            <a:ext cx="1503459" cy="151184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48" r="21371"/>
          <a:stretch/>
        </p:blipFill>
        <p:spPr>
          <a:xfrm>
            <a:off x="1394199" y="588298"/>
            <a:ext cx="1508934" cy="1513458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3318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7" imgW="359" imgH="358" progId="TCLayout.ActiveDocument.1">
                  <p:embed/>
                </p:oleObj>
              </mc:Choice>
              <mc:Fallback>
                <p:oleObj name="think-cell Folie" r:id="rId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platzhalter 63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1390995" y="4593928"/>
            <a:ext cx="477962" cy="64153"/>
          </a:xfrm>
          <a:custGeom>
            <a:avLst/>
            <a:gdLst>
              <a:gd name="connsiteX0" fmla="*/ 1175891 w 1679675"/>
              <a:gd name="connsiteY0" fmla="*/ 142578 h 225475"/>
              <a:gd name="connsiteX1" fmla="*/ 1132136 w 1679675"/>
              <a:gd name="connsiteY1" fmla="*/ 152698 h 225475"/>
              <a:gd name="connsiteX2" fmla="*/ 1108770 w 1679675"/>
              <a:gd name="connsiteY2" fmla="*/ 158056 h 225475"/>
              <a:gd name="connsiteX3" fmla="*/ 1098203 w 1679675"/>
              <a:gd name="connsiteY3" fmla="*/ 166762 h 225475"/>
              <a:gd name="connsiteX4" fmla="*/ 1094482 w 1679675"/>
              <a:gd name="connsiteY4" fmla="*/ 179487 h 225475"/>
              <a:gd name="connsiteX5" fmla="*/ 1102593 w 1679675"/>
              <a:gd name="connsiteY5" fmla="*/ 197346 h 225475"/>
              <a:gd name="connsiteX6" fmla="*/ 1126332 w 1679675"/>
              <a:gd name="connsiteY6" fmla="*/ 204490 h 225475"/>
              <a:gd name="connsiteX7" fmla="*/ 1153865 w 1679675"/>
              <a:gd name="connsiteY7" fmla="*/ 197718 h 225475"/>
              <a:gd name="connsiteX8" fmla="*/ 1171575 w 1679675"/>
              <a:gd name="connsiteY8" fmla="*/ 179189 h 225475"/>
              <a:gd name="connsiteX9" fmla="*/ 1175891 w 1679675"/>
              <a:gd name="connsiteY9" fmla="*/ 152400 h 225475"/>
              <a:gd name="connsiteX10" fmla="*/ 328166 w 1679675"/>
              <a:gd name="connsiteY10" fmla="*/ 142578 h 225475"/>
              <a:gd name="connsiteX11" fmla="*/ 284411 w 1679675"/>
              <a:gd name="connsiteY11" fmla="*/ 152698 h 225475"/>
              <a:gd name="connsiteX12" fmla="*/ 261045 w 1679675"/>
              <a:gd name="connsiteY12" fmla="*/ 158056 h 225475"/>
              <a:gd name="connsiteX13" fmla="*/ 250478 w 1679675"/>
              <a:gd name="connsiteY13" fmla="*/ 166762 h 225475"/>
              <a:gd name="connsiteX14" fmla="*/ 246757 w 1679675"/>
              <a:gd name="connsiteY14" fmla="*/ 179487 h 225475"/>
              <a:gd name="connsiteX15" fmla="*/ 254868 w 1679675"/>
              <a:gd name="connsiteY15" fmla="*/ 197346 h 225475"/>
              <a:gd name="connsiteX16" fmla="*/ 278607 w 1679675"/>
              <a:gd name="connsiteY16" fmla="*/ 204490 h 225475"/>
              <a:gd name="connsiteX17" fmla="*/ 306140 w 1679675"/>
              <a:gd name="connsiteY17" fmla="*/ 197718 h 225475"/>
              <a:gd name="connsiteX18" fmla="*/ 323850 w 1679675"/>
              <a:gd name="connsiteY18" fmla="*/ 179189 h 225475"/>
              <a:gd name="connsiteX19" fmla="*/ 328166 w 1679675"/>
              <a:gd name="connsiteY19" fmla="*/ 152400 h 225475"/>
              <a:gd name="connsiteX20" fmla="*/ 1453456 w 1679675"/>
              <a:gd name="connsiteY20" fmla="*/ 82451 h 225475"/>
              <a:gd name="connsiteX21" fmla="*/ 1420118 w 1679675"/>
              <a:gd name="connsiteY21" fmla="*/ 97483 h 225475"/>
              <a:gd name="connsiteX22" fmla="*/ 1406873 w 1679675"/>
              <a:gd name="connsiteY22" fmla="*/ 142875 h 225475"/>
              <a:gd name="connsiteX23" fmla="*/ 1420118 w 1679675"/>
              <a:gd name="connsiteY23" fmla="*/ 188342 h 225475"/>
              <a:gd name="connsiteX24" fmla="*/ 1453456 w 1679675"/>
              <a:gd name="connsiteY24" fmla="*/ 203448 h 225475"/>
              <a:gd name="connsiteX25" fmla="*/ 1486644 w 1679675"/>
              <a:gd name="connsiteY25" fmla="*/ 188268 h 225475"/>
              <a:gd name="connsiteX26" fmla="*/ 1499890 w 1679675"/>
              <a:gd name="connsiteY26" fmla="*/ 141982 h 225475"/>
              <a:gd name="connsiteX27" fmla="*/ 1486570 w 1679675"/>
              <a:gd name="connsiteY27" fmla="*/ 97557 h 225475"/>
              <a:gd name="connsiteX28" fmla="*/ 1453456 w 1679675"/>
              <a:gd name="connsiteY28" fmla="*/ 82451 h 225475"/>
              <a:gd name="connsiteX29" fmla="*/ 1322785 w 1679675"/>
              <a:gd name="connsiteY29" fmla="*/ 63848 h 225475"/>
              <a:gd name="connsiteX30" fmla="*/ 1349574 w 1679675"/>
              <a:gd name="connsiteY30" fmla="*/ 63848 h 225475"/>
              <a:gd name="connsiteX31" fmla="*/ 1349574 w 1679675"/>
              <a:gd name="connsiteY31" fmla="*/ 221903 h 225475"/>
              <a:gd name="connsiteX32" fmla="*/ 1322785 w 1679675"/>
              <a:gd name="connsiteY32" fmla="*/ 221903 h 225475"/>
              <a:gd name="connsiteX33" fmla="*/ 856060 w 1679675"/>
              <a:gd name="connsiteY33" fmla="*/ 63848 h 225475"/>
              <a:gd name="connsiteX34" fmla="*/ 882849 w 1679675"/>
              <a:gd name="connsiteY34" fmla="*/ 63848 h 225475"/>
              <a:gd name="connsiteX35" fmla="*/ 882849 w 1679675"/>
              <a:gd name="connsiteY35" fmla="*/ 221903 h 225475"/>
              <a:gd name="connsiteX36" fmla="*/ 856060 w 1679675"/>
              <a:gd name="connsiteY36" fmla="*/ 221903 h 225475"/>
              <a:gd name="connsiteX37" fmla="*/ 694135 w 1679675"/>
              <a:gd name="connsiteY37" fmla="*/ 63848 h 225475"/>
              <a:gd name="connsiteX38" fmla="*/ 720924 w 1679675"/>
              <a:gd name="connsiteY38" fmla="*/ 63848 h 225475"/>
              <a:gd name="connsiteX39" fmla="*/ 720924 w 1679675"/>
              <a:gd name="connsiteY39" fmla="*/ 221903 h 225475"/>
              <a:gd name="connsiteX40" fmla="*/ 694135 w 1679675"/>
              <a:gd name="connsiteY40" fmla="*/ 221903 h 225475"/>
              <a:gd name="connsiteX41" fmla="*/ 1625650 w 1679675"/>
              <a:gd name="connsiteY41" fmla="*/ 60276 h 225475"/>
              <a:gd name="connsiteX42" fmla="*/ 1651918 w 1679675"/>
              <a:gd name="connsiteY42" fmla="*/ 65410 h 225475"/>
              <a:gd name="connsiteX43" fmla="*/ 1669852 w 1679675"/>
              <a:gd name="connsiteY43" fmla="*/ 78879 h 225475"/>
              <a:gd name="connsiteX44" fmla="*/ 1678186 w 1679675"/>
              <a:gd name="connsiteY44" fmla="*/ 98673 h 225475"/>
              <a:gd name="connsiteX45" fmla="*/ 1679675 w 1679675"/>
              <a:gd name="connsiteY45" fmla="*/ 124718 h 225475"/>
              <a:gd name="connsiteX46" fmla="*/ 1679675 w 1679675"/>
              <a:gd name="connsiteY46" fmla="*/ 221903 h 225475"/>
              <a:gd name="connsiteX47" fmla="*/ 1652885 w 1679675"/>
              <a:gd name="connsiteY47" fmla="*/ 221903 h 225475"/>
              <a:gd name="connsiteX48" fmla="*/ 1652885 w 1679675"/>
              <a:gd name="connsiteY48" fmla="*/ 125760 h 225475"/>
              <a:gd name="connsiteX49" fmla="*/ 1649760 w 1679675"/>
              <a:gd name="connsiteY49" fmla="*/ 101278 h 225475"/>
              <a:gd name="connsiteX50" fmla="*/ 1638672 w 1679675"/>
              <a:gd name="connsiteY50" fmla="*/ 88330 h 225475"/>
              <a:gd name="connsiteX51" fmla="*/ 1619994 w 1679675"/>
              <a:gd name="connsiteY51" fmla="*/ 83493 h 225475"/>
              <a:gd name="connsiteX52" fmla="*/ 1590452 w 1679675"/>
              <a:gd name="connsiteY52" fmla="*/ 94357 h 225475"/>
              <a:gd name="connsiteX53" fmla="*/ 1578025 w 1679675"/>
              <a:gd name="connsiteY53" fmla="*/ 135583 h 225475"/>
              <a:gd name="connsiteX54" fmla="*/ 1578025 w 1679675"/>
              <a:gd name="connsiteY54" fmla="*/ 221903 h 225475"/>
              <a:gd name="connsiteX55" fmla="*/ 1551236 w 1679675"/>
              <a:gd name="connsiteY55" fmla="*/ 221903 h 225475"/>
              <a:gd name="connsiteX56" fmla="*/ 1551236 w 1679675"/>
              <a:gd name="connsiteY56" fmla="*/ 63848 h 225475"/>
              <a:gd name="connsiteX57" fmla="*/ 1575346 w 1679675"/>
              <a:gd name="connsiteY57" fmla="*/ 63848 h 225475"/>
              <a:gd name="connsiteX58" fmla="*/ 1575346 w 1679675"/>
              <a:gd name="connsiteY58" fmla="*/ 86321 h 225475"/>
              <a:gd name="connsiteX59" fmla="*/ 1625650 w 1679675"/>
              <a:gd name="connsiteY59" fmla="*/ 60276 h 225475"/>
              <a:gd name="connsiteX60" fmla="*/ 1453456 w 1679675"/>
              <a:gd name="connsiteY60" fmla="*/ 60276 h 225475"/>
              <a:gd name="connsiteX61" fmla="*/ 1506736 w 1679675"/>
              <a:gd name="connsiteY61" fmla="*/ 81633 h 225475"/>
              <a:gd name="connsiteX62" fmla="*/ 1527423 w 1679675"/>
              <a:gd name="connsiteY62" fmla="*/ 140643 h 225475"/>
              <a:gd name="connsiteX63" fmla="*/ 1518270 w 1679675"/>
              <a:gd name="connsiteY63" fmla="*/ 188640 h 225475"/>
              <a:gd name="connsiteX64" fmla="*/ 1491630 w 1679675"/>
              <a:gd name="connsiteY64" fmla="*/ 215801 h 225475"/>
              <a:gd name="connsiteX65" fmla="*/ 1453456 w 1679675"/>
              <a:gd name="connsiteY65" fmla="*/ 225475 h 225475"/>
              <a:gd name="connsiteX66" fmla="*/ 1399803 w 1679675"/>
              <a:gd name="connsiteY66" fmla="*/ 204192 h 225475"/>
              <a:gd name="connsiteX67" fmla="*/ 1379339 w 1679675"/>
              <a:gd name="connsiteY67" fmla="*/ 142875 h 225475"/>
              <a:gd name="connsiteX68" fmla="*/ 1403747 w 1679675"/>
              <a:gd name="connsiteY68" fmla="*/ 77837 h 225475"/>
              <a:gd name="connsiteX69" fmla="*/ 1453456 w 1679675"/>
              <a:gd name="connsiteY69" fmla="*/ 60276 h 225475"/>
              <a:gd name="connsiteX70" fmla="*/ 1141810 w 1679675"/>
              <a:gd name="connsiteY70" fmla="*/ 60276 h 225475"/>
              <a:gd name="connsiteX71" fmla="*/ 1174701 w 1679675"/>
              <a:gd name="connsiteY71" fmla="*/ 65038 h 225475"/>
              <a:gd name="connsiteX72" fmla="*/ 1193304 w 1679675"/>
              <a:gd name="connsiteY72" fmla="*/ 77019 h 225475"/>
              <a:gd name="connsiteX73" fmla="*/ 1201639 w 1679675"/>
              <a:gd name="connsiteY73" fmla="*/ 95250 h 225475"/>
              <a:gd name="connsiteX74" fmla="*/ 1202978 w 1679675"/>
              <a:gd name="connsiteY74" fmla="*/ 119956 h 225475"/>
              <a:gd name="connsiteX75" fmla="*/ 1202978 w 1679675"/>
              <a:gd name="connsiteY75" fmla="*/ 155674 h 225475"/>
              <a:gd name="connsiteX76" fmla="*/ 1204690 w 1679675"/>
              <a:gd name="connsiteY76" fmla="*/ 202927 h 225475"/>
              <a:gd name="connsiteX77" fmla="*/ 1211461 w 1679675"/>
              <a:gd name="connsiteY77" fmla="*/ 221903 h 225475"/>
              <a:gd name="connsiteX78" fmla="*/ 1183482 w 1679675"/>
              <a:gd name="connsiteY78" fmla="*/ 221903 h 225475"/>
              <a:gd name="connsiteX79" fmla="*/ 1178124 w 1679675"/>
              <a:gd name="connsiteY79" fmla="*/ 202407 h 225475"/>
              <a:gd name="connsiteX80" fmla="*/ 1149474 w 1679675"/>
              <a:gd name="connsiteY80" fmla="*/ 220266 h 225475"/>
              <a:gd name="connsiteX81" fmla="*/ 1119932 w 1679675"/>
              <a:gd name="connsiteY81" fmla="*/ 225475 h 225475"/>
              <a:gd name="connsiteX82" fmla="*/ 1079897 w 1679675"/>
              <a:gd name="connsiteY82" fmla="*/ 212750 h 225475"/>
              <a:gd name="connsiteX83" fmla="*/ 1065907 w 1679675"/>
              <a:gd name="connsiteY83" fmla="*/ 180231 h 225475"/>
              <a:gd name="connsiteX84" fmla="*/ 1071191 w 1679675"/>
              <a:gd name="connsiteY84" fmla="*/ 159023 h 225475"/>
              <a:gd name="connsiteX85" fmla="*/ 1085032 w 1679675"/>
              <a:gd name="connsiteY85" fmla="*/ 143619 h 225475"/>
              <a:gd name="connsiteX86" fmla="*/ 1104305 w 1679675"/>
              <a:gd name="connsiteY86" fmla="*/ 134839 h 225475"/>
              <a:gd name="connsiteX87" fmla="*/ 1128118 w 1679675"/>
              <a:gd name="connsiteY87" fmla="*/ 130820 h 225475"/>
              <a:gd name="connsiteX88" fmla="*/ 1175891 w 1679675"/>
              <a:gd name="connsiteY88" fmla="*/ 121593 h 225475"/>
              <a:gd name="connsiteX89" fmla="*/ 1176040 w 1679675"/>
              <a:gd name="connsiteY89" fmla="*/ 114598 h 225475"/>
              <a:gd name="connsiteX90" fmla="*/ 1168450 w 1679675"/>
              <a:gd name="connsiteY90" fmla="*/ 91530 h 225475"/>
              <a:gd name="connsiteX91" fmla="*/ 1137940 w 1679675"/>
              <a:gd name="connsiteY91" fmla="*/ 82451 h 225475"/>
              <a:gd name="connsiteX92" fmla="*/ 1110035 w 1679675"/>
              <a:gd name="connsiteY92" fmla="*/ 89074 h 225475"/>
              <a:gd name="connsiteX93" fmla="*/ 1096715 w 1679675"/>
              <a:gd name="connsiteY93" fmla="*/ 112514 h 225475"/>
              <a:gd name="connsiteX94" fmla="*/ 1070521 w 1679675"/>
              <a:gd name="connsiteY94" fmla="*/ 108942 h 225475"/>
              <a:gd name="connsiteX95" fmla="*/ 1082278 w 1679675"/>
              <a:gd name="connsiteY95" fmla="*/ 81781 h 225475"/>
              <a:gd name="connsiteX96" fmla="*/ 1105942 w 1679675"/>
              <a:gd name="connsiteY96" fmla="*/ 65857 h 225475"/>
              <a:gd name="connsiteX97" fmla="*/ 1141810 w 1679675"/>
              <a:gd name="connsiteY97" fmla="*/ 60276 h 225475"/>
              <a:gd name="connsiteX98" fmla="*/ 986433 w 1679675"/>
              <a:gd name="connsiteY98" fmla="*/ 60276 h 225475"/>
              <a:gd name="connsiteX99" fmla="*/ 1028552 w 1679675"/>
              <a:gd name="connsiteY99" fmla="*/ 73298 h 225475"/>
              <a:gd name="connsiteX100" fmla="*/ 1049536 w 1679675"/>
              <a:gd name="connsiteY100" fmla="*/ 110282 h 225475"/>
              <a:gd name="connsiteX101" fmla="*/ 1023491 w 1679675"/>
              <a:gd name="connsiteY101" fmla="*/ 114300 h 225475"/>
              <a:gd name="connsiteX102" fmla="*/ 1010320 w 1679675"/>
              <a:gd name="connsiteY102" fmla="*/ 90339 h 225475"/>
              <a:gd name="connsiteX103" fmla="*/ 987475 w 1679675"/>
              <a:gd name="connsiteY103" fmla="*/ 82302 h 225475"/>
              <a:gd name="connsiteX104" fmla="*/ 954584 w 1679675"/>
              <a:gd name="connsiteY104" fmla="*/ 96813 h 225475"/>
              <a:gd name="connsiteX105" fmla="*/ 941934 w 1679675"/>
              <a:gd name="connsiteY105" fmla="*/ 142726 h 225475"/>
              <a:gd name="connsiteX106" fmla="*/ 954137 w 1679675"/>
              <a:gd name="connsiteY106" fmla="*/ 189012 h 225475"/>
              <a:gd name="connsiteX107" fmla="*/ 985987 w 1679675"/>
              <a:gd name="connsiteY107" fmla="*/ 203448 h 225475"/>
              <a:gd name="connsiteX108" fmla="*/ 1012329 w 1679675"/>
              <a:gd name="connsiteY108" fmla="*/ 193775 h 225475"/>
              <a:gd name="connsiteX109" fmla="*/ 1025724 w 1679675"/>
              <a:gd name="connsiteY109" fmla="*/ 164009 h 225475"/>
              <a:gd name="connsiteX110" fmla="*/ 1052066 w 1679675"/>
              <a:gd name="connsiteY110" fmla="*/ 167432 h 225475"/>
              <a:gd name="connsiteX111" fmla="*/ 1029965 w 1679675"/>
              <a:gd name="connsiteY111" fmla="*/ 210071 h 225475"/>
              <a:gd name="connsiteX112" fmla="*/ 986284 w 1679675"/>
              <a:gd name="connsiteY112" fmla="*/ 225475 h 225475"/>
              <a:gd name="connsiteX113" fmla="*/ 934120 w 1679675"/>
              <a:gd name="connsiteY113" fmla="*/ 204267 h 225475"/>
              <a:gd name="connsiteX114" fmla="*/ 914400 w 1679675"/>
              <a:gd name="connsiteY114" fmla="*/ 143471 h 225475"/>
              <a:gd name="connsiteX115" fmla="*/ 922884 w 1679675"/>
              <a:gd name="connsiteY115" fmla="*/ 98673 h 225475"/>
              <a:gd name="connsiteX116" fmla="*/ 948705 w 1679675"/>
              <a:gd name="connsiteY116" fmla="*/ 69875 h 225475"/>
              <a:gd name="connsiteX117" fmla="*/ 986433 w 1679675"/>
              <a:gd name="connsiteY117" fmla="*/ 60276 h 225475"/>
              <a:gd name="connsiteX118" fmla="*/ 593527 w 1679675"/>
              <a:gd name="connsiteY118" fmla="*/ 60276 h 225475"/>
              <a:gd name="connsiteX119" fmla="*/ 626195 w 1679675"/>
              <a:gd name="connsiteY119" fmla="*/ 65633 h 225475"/>
              <a:gd name="connsiteX120" fmla="*/ 646956 w 1679675"/>
              <a:gd name="connsiteY120" fmla="*/ 80144 h 225475"/>
              <a:gd name="connsiteX121" fmla="*/ 656184 w 1679675"/>
              <a:gd name="connsiteY121" fmla="*/ 104626 h 225475"/>
              <a:gd name="connsiteX122" fmla="*/ 629990 w 1679675"/>
              <a:gd name="connsiteY122" fmla="*/ 108198 h 225475"/>
              <a:gd name="connsiteX123" fmla="*/ 619646 w 1679675"/>
              <a:gd name="connsiteY123" fmla="*/ 89148 h 225475"/>
              <a:gd name="connsiteX124" fmla="*/ 595462 w 1679675"/>
              <a:gd name="connsiteY124" fmla="*/ 82302 h 225475"/>
              <a:gd name="connsiteX125" fmla="*/ 569119 w 1679675"/>
              <a:gd name="connsiteY125" fmla="*/ 88404 h 225475"/>
              <a:gd name="connsiteX126" fmla="*/ 561231 w 1679675"/>
              <a:gd name="connsiteY126" fmla="*/ 102692 h 225475"/>
              <a:gd name="connsiteX127" fmla="*/ 564505 w 1679675"/>
              <a:gd name="connsiteY127" fmla="*/ 112068 h 225475"/>
              <a:gd name="connsiteX128" fmla="*/ 574775 w 1679675"/>
              <a:gd name="connsiteY128" fmla="*/ 119212 h 225475"/>
              <a:gd name="connsiteX129" fmla="*/ 598438 w 1679675"/>
              <a:gd name="connsiteY129" fmla="*/ 126058 h 225475"/>
              <a:gd name="connsiteX130" fmla="*/ 638101 w 1679675"/>
              <a:gd name="connsiteY130" fmla="*/ 138485 h 225475"/>
              <a:gd name="connsiteX131" fmla="*/ 655737 w 1679675"/>
              <a:gd name="connsiteY131" fmla="*/ 152549 h 225475"/>
              <a:gd name="connsiteX132" fmla="*/ 662137 w 1679675"/>
              <a:gd name="connsiteY132" fmla="*/ 175469 h 225475"/>
              <a:gd name="connsiteX133" fmla="*/ 654323 w 1679675"/>
              <a:gd name="connsiteY133" fmla="*/ 200695 h 225475"/>
              <a:gd name="connsiteX134" fmla="*/ 631776 w 1679675"/>
              <a:gd name="connsiteY134" fmla="*/ 219001 h 225475"/>
              <a:gd name="connsiteX135" fmla="*/ 598438 w 1679675"/>
              <a:gd name="connsiteY135" fmla="*/ 225475 h 225475"/>
              <a:gd name="connsiteX136" fmla="*/ 551483 w 1679675"/>
              <a:gd name="connsiteY136" fmla="*/ 212676 h 225475"/>
              <a:gd name="connsiteX137" fmla="*/ 530870 w 1679675"/>
              <a:gd name="connsiteY137" fmla="*/ 174724 h 225475"/>
              <a:gd name="connsiteX138" fmla="*/ 557362 w 1679675"/>
              <a:gd name="connsiteY138" fmla="*/ 170557 h 225475"/>
              <a:gd name="connsiteX139" fmla="*/ 569789 w 1679675"/>
              <a:gd name="connsiteY139" fmla="*/ 194965 h 225475"/>
              <a:gd name="connsiteX140" fmla="*/ 598289 w 1679675"/>
              <a:gd name="connsiteY140" fmla="*/ 203448 h 225475"/>
              <a:gd name="connsiteX141" fmla="*/ 625674 w 1679675"/>
              <a:gd name="connsiteY141" fmla="*/ 195933 h 225475"/>
              <a:gd name="connsiteX142" fmla="*/ 634603 w 1679675"/>
              <a:gd name="connsiteY142" fmla="*/ 178296 h 225475"/>
              <a:gd name="connsiteX143" fmla="*/ 626716 w 1679675"/>
              <a:gd name="connsiteY143" fmla="*/ 164009 h 225475"/>
              <a:gd name="connsiteX144" fmla="*/ 599331 w 1679675"/>
              <a:gd name="connsiteY144" fmla="*/ 154930 h 225475"/>
              <a:gd name="connsiteX145" fmla="*/ 558478 w 1679675"/>
              <a:gd name="connsiteY145" fmla="*/ 142057 h 225475"/>
              <a:gd name="connsiteX146" fmla="*/ 541214 w 1679675"/>
              <a:gd name="connsiteY146" fmla="*/ 127025 h 225475"/>
              <a:gd name="connsiteX147" fmla="*/ 535335 w 1679675"/>
              <a:gd name="connsiteY147" fmla="*/ 105817 h 225475"/>
              <a:gd name="connsiteX148" fmla="*/ 540172 w 1679675"/>
              <a:gd name="connsiteY148" fmla="*/ 86246 h 225475"/>
              <a:gd name="connsiteX149" fmla="*/ 553343 w 1679675"/>
              <a:gd name="connsiteY149" fmla="*/ 71289 h 225475"/>
              <a:gd name="connsiteX150" fmla="*/ 570384 w 1679675"/>
              <a:gd name="connsiteY150" fmla="*/ 63475 h 225475"/>
              <a:gd name="connsiteX151" fmla="*/ 593527 w 1679675"/>
              <a:gd name="connsiteY151" fmla="*/ 60276 h 225475"/>
              <a:gd name="connsiteX152" fmla="*/ 441127 w 1679675"/>
              <a:gd name="connsiteY152" fmla="*/ 60276 h 225475"/>
              <a:gd name="connsiteX153" fmla="*/ 473795 w 1679675"/>
              <a:gd name="connsiteY153" fmla="*/ 65633 h 225475"/>
              <a:gd name="connsiteX154" fmla="*/ 494556 w 1679675"/>
              <a:gd name="connsiteY154" fmla="*/ 80144 h 225475"/>
              <a:gd name="connsiteX155" fmla="*/ 503784 w 1679675"/>
              <a:gd name="connsiteY155" fmla="*/ 104626 h 225475"/>
              <a:gd name="connsiteX156" fmla="*/ 477590 w 1679675"/>
              <a:gd name="connsiteY156" fmla="*/ 108198 h 225475"/>
              <a:gd name="connsiteX157" fmla="*/ 467246 w 1679675"/>
              <a:gd name="connsiteY157" fmla="*/ 89148 h 225475"/>
              <a:gd name="connsiteX158" fmla="*/ 443062 w 1679675"/>
              <a:gd name="connsiteY158" fmla="*/ 82302 h 225475"/>
              <a:gd name="connsiteX159" fmla="*/ 416719 w 1679675"/>
              <a:gd name="connsiteY159" fmla="*/ 88404 h 225475"/>
              <a:gd name="connsiteX160" fmla="*/ 408831 w 1679675"/>
              <a:gd name="connsiteY160" fmla="*/ 102692 h 225475"/>
              <a:gd name="connsiteX161" fmla="*/ 412105 w 1679675"/>
              <a:gd name="connsiteY161" fmla="*/ 112068 h 225475"/>
              <a:gd name="connsiteX162" fmla="*/ 422375 w 1679675"/>
              <a:gd name="connsiteY162" fmla="*/ 119212 h 225475"/>
              <a:gd name="connsiteX163" fmla="*/ 446038 w 1679675"/>
              <a:gd name="connsiteY163" fmla="*/ 126058 h 225475"/>
              <a:gd name="connsiteX164" fmla="*/ 485701 w 1679675"/>
              <a:gd name="connsiteY164" fmla="*/ 138485 h 225475"/>
              <a:gd name="connsiteX165" fmla="*/ 503337 w 1679675"/>
              <a:gd name="connsiteY165" fmla="*/ 152549 h 225475"/>
              <a:gd name="connsiteX166" fmla="*/ 509737 w 1679675"/>
              <a:gd name="connsiteY166" fmla="*/ 175469 h 225475"/>
              <a:gd name="connsiteX167" fmla="*/ 501923 w 1679675"/>
              <a:gd name="connsiteY167" fmla="*/ 200695 h 225475"/>
              <a:gd name="connsiteX168" fmla="*/ 479376 w 1679675"/>
              <a:gd name="connsiteY168" fmla="*/ 219001 h 225475"/>
              <a:gd name="connsiteX169" fmla="*/ 446038 w 1679675"/>
              <a:gd name="connsiteY169" fmla="*/ 225475 h 225475"/>
              <a:gd name="connsiteX170" fmla="*/ 399083 w 1679675"/>
              <a:gd name="connsiteY170" fmla="*/ 212676 h 225475"/>
              <a:gd name="connsiteX171" fmla="*/ 378470 w 1679675"/>
              <a:gd name="connsiteY171" fmla="*/ 174724 h 225475"/>
              <a:gd name="connsiteX172" fmla="*/ 404962 w 1679675"/>
              <a:gd name="connsiteY172" fmla="*/ 170557 h 225475"/>
              <a:gd name="connsiteX173" fmla="*/ 417389 w 1679675"/>
              <a:gd name="connsiteY173" fmla="*/ 194965 h 225475"/>
              <a:gd name="connsiteX174" fmla="*/ 445889 w 1679675"/>
              <a:gd name="connsiteY174" fmla="*/ 203448 h 225475"/>
              <a:gd name="connsiteX175" fmla="*/ 473274 w 1679675"/>
              <a:gd name="connsiteY175" fmla="*/ 195933 h 225475"/>
              <a:gd name="connsiteX176" fmla="*/ 482203 w 1679675"/>
              <a:gd name="connsiteY176" fmla="*/ 178296 h 225475"/>
              <a:gd name="connsiteX177" fmla="*/ 474316 w 1679675"/>
              <a:gd name="connsiteY177" fmla="*/ 164009 h 225475"/>
              <a:gd name="connsiteX178" fmla="*/ 446931 w 1679675"/>
              <a:gd name="connsiteY178" fmla="*/ 154930 h 225475"/>
              <a:gd name="connsiteX179" fmla="*/ 406078 w 1679675"/>
              <a:gd name="connsiteY179" fmla="*/ 142057 h 225475"/>
              <a:gd name="connsiteX180" fmla="*/ 388814 w 1679675"/>
              <a:gd name="connsiteY180" fmla="*/ 127025 h 225475"/>
              <a:gd name="connsiteX181" fmla="*/ 382935 w 1679675"/>
              <a:gd name="connsiteY181" fmla="*/ 105817 h 225475"/>
              <a:gd name="connsiteX182" fmla="*/ 387772 w 1679675"/>
              <a:gd name="connsiteY182" fmla="*/ 86246 h 225475"/>
              <a:gd name="connsiteX183" fmla="*/ 400943 w 1679675"/>
              <a:gd name="connsiteY183" fmla="*/ 71289 h 225475"/>
              <a:gd name="connsiteX184" fmla="*/ 417984 w 1679675"/>
              <a:gd name="connsiteY184" fmla="*/ 63475 h 225475"/>
              <a:gd name="connsiteX185" fmla="*/ 441127 w 1679675"/>
              <a:gd name="connsiteY185" fmla="*/ 60276 h 225475"/>
              <a:gd name="connsiteX186" fmla="*/ 294085 w 1679675"/>
              <a:gd name="connsiteY186" fmla="*/ 60276 h 225475"/>
              <a:gd name="connsiteX187" fmla="*/ 326976 w 1679675"/>
              <a:gd name="connsiteY187" fmla="*/ 65038 h 225475"/>
              <a:gd name="connsiteX188" fmla="*/ 345579 w 1679675"/>
              <a:gd name="connsiteY188" fmla="*/ 77019 h 225475"/>
              <a:gd name="connsiteX189" fmla="*/ 353914 w 1679675"/>
              <a:gd name="connsiteY189" fmla="*/ 95250 h 225475"/>
              <a:gd name="connsiteX190" fmla="*/ 355253 w 1679675"/>
              <a:gd name="connsiteY190" fmla="*/ 119956 h 225475"/>
              <a:gd name="connsiteX191" fmla="*/ 355253 w 1679675"/>
              <a:gd name="connsiteY191" fmla="*/ 155674 h 225475"/>
              <a:gd name="connsiteX192" fmla="*/ 356965 w 1679675"/>
              <a:gd name="connsiteY192" fmla="*/ 202927 h 225475"/>
              <a:gd name="connsiteX193" fmla="*/ 363736 w 1679675"/>
              <a:gd name="connsiteY193" fmla="*/ 221903 h 225475"/>
              <a:gd name="connsiteX194" fmla="*/ 335757 w 1679675"/>
              <a:gd name="connsiteY194" fmla="*/ 221903 h 225475"/>
              <a:gd name="connsiteX195" fmla="*/ 330399 w 1679675"/>
              <a:gd name="connsiteY195" fmla="*/ 202407 h 225475"/>
              <a:gd name="connsiteX196" fmla="*/ 301749 w 1679675"/>
              <a:gd name="connsiteY196" fmla="*/ 220266 h 225475"/>
              <a:gd name="connsiteX197" fmla="*/ 272207 w 1679675"/>
              <a:gd name="connsiteY197" fmla="*/ 225475 h 225475"/>
              <a:gd name="connsiteX198" fmla="*/ 232172 w 1679675"/>
              <a:gd name="connsiteY198" fmla="*/ 212750 h 225475"/>
              <a:gd name="connsiteX199" fmla="*/ 218182 w 1679675"/>
              <a:gd name="connsiteY199" fmla="*/ 180231 h 225475"/>
              <a:gd name="connsiteX200" fmla="*/ 223466 w 1679675"/>
              <a:gd name="connsiteY200" fmla="*/ 159023 h 225475"/>
              <a:gd name="connsiteX201" fmla="*/ 237307 w 1679675"/>
              <a:gd name="connsiteY201" fmla="*/ 143619 h 225475"/>
              <a:gd name="connsiteX202" fmla="*/ 256580 w 1679675"/>
              <a:gd name="connsiteY202" fmla="*/ 134839 h 225475"/>
              <a:gd name="connsiteX203" fmla="*/ 280393 w 1679675"/>
              <a:gd name="connsiteY203" fmla="*/ 130820 h 225475"/>
              <a:gd name="connsiteX204" fmla="*/ 328166 w 1679675"/>
              <a:gd name="connsiteY204" fmla="*/ 121593 h 225475"/>
              <a:gd name="connsiteX205" fmla="*/ 328315 w 1679675"/>
              <a:gd name="connsiteY205" fmla="*/ 114598 h 225475"/>
              <a:gd name="connsiteX206" fmla="*/ 320725 w 1679675"/>
              <a:gd name="connsiteY206" fmla="*/ 91530 h 225475"/>
              <a:gd name="connsiteX207" fmla="*/ 290215 w 1679675"/>
              <a:gd name="connsiteY207" fmla="*/ 82451 h 225475"/>
              <a:gd name="connsiteX208" fmla="*/ 262310 w 1679675"/>
              <a:gd name="connsiteY208" fmla="*/ 89074 h 225475"/>
              <a:gd name="connsiteX209" fmla="*/ 248990 w 1679675"/>
              <a:gd name="connsiteY209" fmla="*/ 112514 h 225475"/>
              <a:gd name="connsiteX210" fmla="*/ 222796 w 1679675"/>
              <a:gd name="connsiteY210" fmla="*/ 108942 h 225475"/>
              <a:gd name="connsiteX211" fmla="*/ 234553 w 1679675"/>
              <a:gd name="connsiteY211" fmla="*/ 81781 h 225475"/>
              <a:gd name="connsiteX212" fmla="*/ 258217 w 1679675"/>
              <a:gd name="connsiteY212" fmla="*/ 65857 h 225475"/>
              <a:gd name="connsiteX213" fmla="*/ 294085 w 1679675"/>
              <a:gd name="connsiteY213" fmla="*/ 60276 h 225475"/>
              <a:gd name="connsiteX214" fmla="*/ 72033 w 1679675"/>
              <a:gd name="connsiteY214" fmla="*/ 60276 h 225475"/>
              <a:gd name="connsiteX215" fmla="*/ 114152 w 1679675"/>
              <a:gd name="connsiteY215" fmla="*/ 73298 h 225475"/>
              <a:gd name="connsiteX216" fmla="*/ 135136 w 1679675"/>
              <a:gd name="connsiteY216" fmla="*/ 110282 h 225475"/>
              <a:gd name="connsiteX217" fmla="*/ 109091 w 1679675"/>
              <a:gd name="connsiteY217" fmla="*/ 114300 h 225475"/>
              <a:gd name="connsiteX218" fmla="*/ 95920 w 1679675"/>
              <a:gd name="connsiteY218" fmla="*/ 90339 h 225475"/>
              <a:gd name="connsiteX219" fmla="*/ 73075 w 1679675"/>
              <a:gd name="connsiteY219" fmla="*/ 82302 h 225475"/>
              <a:gd name="connsiteX220" fmla="*/ 40184 w 1679675"/>
              <a:gd name="connsiteY220" fmla="*/ 96813 h 225475"/>
              <a:gd name="connsiteX221" fmla="*/ 27534 w 1679675"/>
              <a:gd name="connsiteY221" fmla="*/ 142726 h 225475"/>
              <a:gd name="connsiteX222" fmla="*/ 39737 w 1679675"/>
              <a:gd name="connsiteY222" fmla="*/ 189012 h 225475"/>
              <a:gd name="connsiteX223" fmla="*/ 71587 w 1679675"/>
              <a:gd name="connsiteY223" fmla="*/ 203448 h 225475"/>
              <a:gd name="connsiteX224" fmla="*/ 97929 w 1679675"/>
              <a:gd name="connsiteY224" fmla="*/ 193775 h 225475"/>
              <a:gd name="connsiteX225" fmla="*/ 111324 w 1679675"/>
              <a:gd name="connsiteY225" fmla="*/ 164009 h 225475"/>
              <a:gd name="connsiteX226" fmla="*/ 137666 w 1679675"/>
              <a:gd name="connsiteY226" fmla="*/ 167432 h 225475"/>
              <a:gd name="connsiteX227" fmla="*/ 115565 w 1679675"/>
              <a:gd name="connsiteY227" fmla="*/ 210071 h 225475"/>
              <a:gd name="connsiteX228" fmla="*/ 71884 w 1679675"/>
              <a:gd name="connsiteY228" fmla="*/ 225475 h 225475"/>
              <a:gd name="connsiteX229" fmla="*/ 19720 w 1679675"/>
              <a:gd name="connsiteY229" fmla="*/ 204267 h 225475"/>
              <a:gd name="connsiteX230" fmla="*/ 0 w 1679675"/>
              <a:gd name="connsiteY230" fmla="*/ 143471 h 225475"/>
              <a:gd name="connsiteX231" fmla="*/ 8484 w 1679675"/>
              <a:gd name="connsiteY231" fmla="*/ 98673 h 225475"/>
              <a:gd name="connsiteX232" fmla="*/ 34305 w 1679675"/>
              <a:gd name="connsiteY232" fmla="*/ 69875 h 225475"/>
              <a:gd name="connsiteX233" fmla="*/ 72033 w 1679675"/>
              <a:gd name="connsiteY233" fmla="*/ 60276 h 225475"/>
              <a:gd name="connsiteX234" fmla="*/ 1268462 w 1679675"/>
              <a:gd name="connsiteY234" fmla="*/ 8632 h 225475"/>
              <a:gd name="connsiteX235" fmla="*/ 1268462 w 1679675"/>
              <a:gd name="connsiteY235" fmla="*/ 63848 h 225475"/>
              <a:gd name="connsiteX236" fmla="*/ 1295400 w 1679675"/>
              <a:gd name="connsiteY236" fmla="*/ 63848 h 225475"/>
              <a:gd name="connsiteX237" fmla="*/ 1295400 w 1679675"/>
              <a:gd name="connsiteY237" fmla="*/ 84683 h 225475"/>
              <a:gd name="connsiteX238" fmla="*/ 1268462 w 1679675"/>
              <a:gd name="connsiteY238" fmla="*/ 84683 h 225475"/>
              <a:gd name="connsiteX239" fmla="*/ 1268462 w 1679675"/>
              <a:gd name="connsiteY239" fmla="*/ 177106 h 225475"/>
              <a:gd name="connsiteX240" fmla="*/ 1269876 w 1679675"/>
              <a:gd name="connsiteY240" fmla="*/ 191840 h 225475"/>
              <a:gd name="connsiteX241" fmla="*/ 1274490 w 1679675"/>
              <a:gd name="connsiteY241" fmla="*/ 197049 h 225475"/>
              <a:gd name="connsiteX242" fmla="*/ 1283643 w 1679675"/>
              <a:gd name="connsiteY242" fmla="*/ 198983 h 225475"/>
              <a:gd name="connsiteX243" fmla="*/ 1295400 w 1679675"/>
              <a:gd name="connsiteY243" fmla="*/ 197942 h 225475"/>
              <a:gd name="connsiteX244" fmla="*/ 1299270 w 1679675"/>
              <a:gd name="connsiteY244" fmla="*/ 221605 h 225475"/>
              <a:gd name="connsiteX245" fmla="*/ 1279029 w 1679675"/>
              <a:gd name="connsiteY245" fmla="*/ 223987 h 225475"/>
              <a:gd name="connsiteX246" fmla="*/ 1256407 w 1679675"/>
              <a:gd name="connsiteY246" fmla="*/ 219373 h 225475"/>
              <a:gd name="connsiteX247" fmla="*/ 1245096 w 1679675"/>
              <a:gd name="connsiteY247" fmla="*/ 207243 h 225475"/>
              <a:gd name="connsiteX248" fmla="*/ 1241822 w 1679675"/>
              <a:gd name="connsiteY248" fmla="*/ 175617 h 225475"/>
              <a:gd name="connsiteX249" fmla="*/ 1241822 w 1679675"/>
              <a:gd name="connsiteY249" fmla="*/ 84683 h 225475"/>
              <a:gd name="connsiteX250" fmla="*/ 1222177 w 1679675"/>
              <a:gd name="connsiteY250" fmla="*/ 84683 h 225475"/>
              <a:gd name="connsiteX251" fmla="*/ 1222177 w 1679675"/>
              <a:gd name="connsiteY251" fmla="*/ 63848 h 225475"/>
              <a:gd name="connsiteX252" fmla="*/ 1241822 w 1679675"/>
              <a:gd name="connsiteY252" fmla="*/ 63848 h 225475"/>
              <a:gd name="connsiteX253" fmla="*/ 1241822 w 1679675"/>
              <a:gd name="connsiteY253" fmla="*/ 24706 h 225475"/>
              <a:gd name="connsiteX254" fmla="*/ 1322785 w 1679675"/>
              <a:gd name="connsiteY254" fmla="*/ 3721 h 225475"/>
              <a:gd name="connsiteX255" fmla="*/ 1349574 w 1679675"/>
              <a:gd name="connsiteY255" fmla="*/ 3721 h 225475"/>
              <a:gd name="connsiteX256" fmla="*/ 1349574 w 1679675"/>
              <a:gd name="connsiteY256" fmla="*/ 34528 h 225475"/>
              <a:gd name="connsiteX257" fmla="*/ 1322785 w 1679675"/>
              <a:gd name="connsiteY257" fmla="*/ 34528 h 225475"/>
              <a:gd name="connsiteX258" fmla="*/ 856060 w 1679675"/>
              <a:gd name="connsiteY258" fmla="*/ 3721 h 225475"/>
              <a:gd name="connsiteX259" fmla="*/ 882849 w 1679675"/>
              <a:gd name="connsiteY259" fmla="*/ 3721 h 225475"/>
              <a:gd name="connsiteX260" fmla="*/ 882849 w 1679675"/>
              <a:gd name="connsiteY260" fmla="*/ 34528 h 225475"/>
              <a:gd name="connsiteX261" fmla="*/ 856060 w 1679675"/>
              <a:gd name="connsiteY261" fmla="*/ 34528 h 225475"/>
              <a:gd name="connsiteX262" fmla="*/ 694135 w 1679675"/>
              <a:gd name="connsiteY262" fmla="*/ 3721 h 225475"/>
              <a:gd name="connsiteX263" fmla="*/ 720924 w 1679675"/>
              <a:gd name="connsiteY263" fmla="*/ 3721 h 225475"/>
              <a:gd name="connsiteX264" fmla="*/ 720924 w 1679675"/>
              <a:gd name="connsiteY264" fmla="*/ 34528 h 225475"/>
              <a:gd name="connsiteX265" fmla="*/ 694135 w 1679675"/>
              <a:gd name="connsiteY265" fmla="*/ 34528 h 225475"/>
              <a:gd name="connsiteX266" fmla="*/ 159991 w 1679675"/>
              <a:gd name="connsiteY266" fmla="*/ 3721 h 225475"/>
              <a:gd name="connsiteX267" fmla="*/ 186780 w 1679675"/>
              <a:gd name="connsiteY267" fmla="*/ 3721 h 225475"/>
              <a:gd name="connsiteX268" fmla="*/ 186780 w 1679675"/>
              <a:gd name="connsiteY268" fmla="*/ 221903 h 225475"/>
              <a:gd name="connsiteX269" fmla="*/ 159991 w 1679675"/>
              <a:gd name="connsiteY269" fmla="*/ 221903 h 225475"/>
              <a:gd name="connsiteX270" fmla="*/ 810816 w 1679675"/>
              <a:gd name="connsiteY270" fmla="*/ 0 h 225475"/>
              <a:gd name="connsiteX271" fmla="*/ 835819 w 1679675"/>
              <a:gd name="connsiteY271" fmla="*/ 2679 h 225475"/>
              <a:gd name="connsiteX272" fmla="*/ 831801 w 1679675"/>
              <a:gd name="connsiteY272" fmla="*/ 26045 h 225475"/>
              <a:gd name="connsiteX273" fmla="*/ 816025 w 1679675"/>
              <a:gd name="connsiteY273" fmla="*/ 24557 h 225475"/>
              <a:gd name="connsiteX274" fmla="*/ 798761 w 1679675"/>
              <a:gd name="connsiteY274" fmla="*/ 29766 h 225475"/>
              <a:gd name="connsiteX275" fmla="*/ 793701 w 1679675"/>
              <a:gd name="connsiteY275" fmla="*/ 49262 h 225475"/>
              <a:gd name="connsiteX276" fmla="*/ 793701 w 1679675"/>
              <a:gd name="connsiteY276" fmla="*/ 63848 h 225475"/>
              <a:gd name="connsiteX277" fmla="*/ 824508 w 1679675"/>
              <a:gd name="connsiteY277" fmla="*/ 63848 h 225475"/>
              <a:gd name="connsiteX278" fmla="*/ 824508 w 1679675"/>
              <a:gd name="connsiteY278" fmla="*/ 84683 h 225475"/>
              <a:gd name="connsiteX279" fmla="*/ 793701 w 1679675"/>
              <a:gd name="connsiteY279" fmla="*/ 84683 h 225475"/>
              <a:gd name="connsiteX280" fmla="*/ 793701 w 1679675"/>
              <a:gd name="connsiteY280" fmla="*/ 221903 h 225475"/>
              <a:gd name="connsiteX281" fmla="*/ 767060 w 1679675"/>
              <a:gd name="connsiteY281" fmla="*/ 221903 h 225475"/>
              <a:gd name="connsiteX282" fmla="*/ 767060 w 1679675"/>
              <a:gd name="connsiteY282" fmla="*/ 84683 h 225475"/>
              <a:gd name="connsiteX283" fmla="*/ 743397 w 1679675"/>
              <a:gd name="connsiteY283" fmla="*/ 84683 h 225475"/>
              <a:gd name="connsiteX284" fmla="*/ 743397 w 1679675"/>
              <a:gd name="connsiteY284" fmla="*/ 63848 h 225475"/>
              <a:gd name="connsiteX285" fmla="*/ 767060 w 1679675"/>
              <a:gd name="connsiteY285" fmla="*/ 63848 h 225475"/>
              <a:gd name="connsiteX286" fmla="*/ 767060 w 1679675"/>
              <a:gd name="connsiteY286" fmla="*/ 47030 h 225475"/>
              <a:gd name="connsiteX287" fmla="*/ 769888 w 1679675"/>
              <a:gd name="connsiteY287" fmla="*/ 23366 h 225475"/>
              <a:gd name="connsiteX288" fmla="*/ 783506 w 1679675"/>
              <a:gd name="connsiteY288" fmla="*/ 6474 h 225475"/>
              <a:gd name="connsiteX289" fmla="*/ 810816 w 1679675"/>
              <a:gd name="connsiteY289" fmla="*/ 0 h 22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</a:cxnLst>
            <a:rect l="l" t="t" r="r" b="b"/>
            <a:pathLst>
              <a:path w="1679675" h="225475">
                <a:moveTo>
                  <a:pt x="1175891" y="142578"/>
                </a:moveTo>
                <a:cubicBezTo>
                  <a:pt x="1166168" y="146546"/>
                  <a:pt x="1151583" y="149920"/>
                  <a:pt x="1132136" y="152698"/>
                </a:cubicBezTo>
                <a:cubicBezTo>
                  <a:pt x="1121123" y="154285"/>
                  <a:pt x="1113334" y="156071"/>
                  <a:pt x="1108770" y="158056"/>
                </a:cubicBezTo>
                <a:cubicBezTo>
                  <a:pt x="1104206" y="160040"/>
                  <a:pt x="1100683" y="162942"/>
                  <a:pt x="1098203" y="166762"/>
                </a:cubicBezTo>
                <a:cubicBezTo>
                  <a:pt x="1095723" y="170582"/>
                  <a:pt x="1094482" y="174824"/>
                  <a:pt x="1094482" y="179487"/>
                </a:cubicBezTo>
                <a:cubicBezTo>
                  <a:pt x="1094482" y="186631"/>
                  <a:pt x="1097186" y="192584"/>
                  <a:pt x="1102593" y="197346"/>
                </a:cubicBezTo>
                <a:cubicBezTo>
                  <a:pt x="1108001" y="202109"/>
                  <a:pt x="1115914" y="204490"/>
                  <a:pt x="1126332" y="204490"/>
                </a:cubicBezTo>
                <a:cubicBezTo>
                  <a:pt x="1136650" y="204490"/>
                  <a:pt x="1145828" y="202233"/>
                  <a:pt x="1153865" y="197718"/>
                </a:cubicBezTo>
                <a:cubicBezTo>
                  <a:pt x="1161901" y="193204"/>
                  <a:pt x="1167805" y="187028"/>
                  <a:pt x="1171575" y="179189"/>
                </a:cubicBezTo>
                <a:cubicBezTo>
                  <a:pt x="1174453" y="173137"/>
                  <a:pt x="1175891" y="164207"/>
                  <a:pt x="1175891" y="152400"/>
                </a:cubicBezTo>
                <a:close/>
                <a:moveTo>
                  <a:pt x="328166" y="142578"/>
                </a:moveTo>
                <a:cubicBezTo>
                  <a:pt x="318443" y="146546"/>
                  <a:pt x="303858" y="149920"/>
                  <a:pt x="284411" y="152698"/>
                </a:cubicBezTo>
                <a:cubicBezTo>
                  <a:pt x="273398" y="154285"/>
                  <a:pt x="265609" y="156071"/>
                  <a:pt x="261045" y="158056"/>
                </a:cubicBezTo>
                <a:cubicBezTo>
                  <a:pt x="256481" y="160040"/>
                  <a:pt x="252959" y="162942"/>
                  <a:pt x="250478" y="166762"/>
                </a:cubicBezTo>
                <a:cubicBezTo>
                  <a:pt x="247998" y="170582"/>
                  <a:pt x="246757" y="174824"/>
                  <a:pt x="246757" y="179487"/>
                </a:cubicBezTo>
                <a:cubicBezTo>
                  <a:pt x="246757" y="186631"/>
                  <a:pt x="249461" y="192584"/>
                  <a:pt x="254868" y="197346"/>
                </a:cubicBezTo>
                <a:cubicBezTo>
                  <a:pt x="260276" y="202109"/>
                  <a:pt x="268189" y="204490"/>
                  <a:pt x="278607" y="204490"/>
                </a:cubicBezTo>
                <a:cubicBezTo>
                  <a:pt x="288925" y="204490"/>
                  <a:pt x="298103" y="202233"/>
                  <a:pt x="306140" y="197718"/>
                </a:cubicBezTo>
                <a:cubicBezTo>
                  <a:pt x="314177" y="193204"/>
                  <a:pt x="320080" y="187028"/>
                  <a:pt x="323850" y="179189"/>
                </a:cubicBezTo>
                <a:cubicBezTo>
                  <a:pt x="326728" y="173137"/>
                  <a:pt x="328166" y="164207"/>
                  <a:pt x="328166" y="152400"/>
                </a:cubicBezTo>
                <a:close/>
                <a:moveTo>
                  <a:pt x="1453456" y="82451"/>
                </a:moveTo>
                <a:cubicBezTo>
                  <a:pt x="1440061" y="82451"/>
                  <a:pt x="1428949" y="87462"/>
                  <a:pt x="1420118" y="97483"/>
                </a:cubicBezTo>
                <a:cubicBezTo>
                  <a:pt x="1411288" y="107504"/>
                  <a:pt x="1406873" y="122635"/>
                  <a:pt x="1406873" y="142875"/>
                </a:cubicBezTo>
                <a:cubicBezTo>
                  <a:pt x="1406873" y="163116"/>
                  <a:pt x="1411288" y="178272"/>
                  <a:pt x="1420118" y="188342"/>
                </a:cubicBezTo>
                <a:cubicBezTo>
                  <a:pt x="1428949" y="198413"/>
                  <a:pt x="1440061" y="203448"/>
                  <a:pt x="1453456" y="203448"/>
                </a:cubicBezTo>
                <a:cubicBezTo>
                  <a:pt x="1466751" y="203448"/>
                  <a:pt x="1477814" y="198388"/>
                  <a:pt x="1486644" y="188268"/>
                </a:cubicBezTo>
                <a:cubicBezTo>
                  <a:pt x="1495475" y="178148"/>
                  <a:pt x="1499890" y="162719"/>
                  <a:pt x="1499890" y="141982"/>
                </a:cubicBezTo>
                <a:cubicBezTo>
                  <a:pt x="1499890" y="122436"/>
                  <a:pt x="1495450" y="107628"/>
                  <a:pt x="1486570" y="97557"/>
                </a:cubicBezTo>
                <a:cubicBezTo>
                  <a:pt x="1477690" y="87486"/>
                  <a:pt x="1466652" y="82451"/>
                  <a:pt x="1453456" y="82451"/>
                </a:cubicBezTo>
                <a:close/>
                <a:moveTo>
                  <a:pt x="1322785" y="63848"/>
                </a:moveTo>
                <a:lnTo>
                  <a:pt x="1349574" y="63848"/>
                </a:lnTo>
                <a:lnTo>
                  <a:pt x="1349574" y="221903"/>
                </a:lnTo>
                <a:lnTo>
                  <a:pt x="1322785" y="221903"/>
                </a:lnTo>
                <a:close/>
                <a:moveTo>
                  <a:pt x="856060" y="63848"/>
                </a:moveTo>
                <a:lnTo>
                  <a:pt x="882849" y="63848"/>
                </a:lnTo>
                <a:lnTo>
                  <a:pt x="882849" y="221903"/>
                </a:lnTo>
                <a:lnTo>
                  <a:pt x="856060" y="221903"/>
                </a:lnTo>
                <a:close/>
                <a:moveTo>
                  <a:pt x="694135" y="63848"/>
                </a:moveTo>
                <a:lnTo>
                  <a:pt x="720924" y="63848"/>
                </a:lnTo>
                <a:lnTo>
                  <a:pt x="720924" y="221903"/>
                </a:lnTo>
                <a:lnTo>
                  <a:pt x="694135" y="221903"/>
                </a:lnTo>
                <a:close/>
                <a:moveTo>
                  <a:pt x="1625650" y="60276"/>
                </a:moveTo>
                <a:cubicBezTo>
                  <a:pt x="1635175" y="60276"/>
                  <a:pt x="1643931" y="61987"/>
                  <a:pt x="1651918" y="65410"/>
                </a:cubicBezTo>
                <a:cubicBezTo>
                  <a:pt x="1659905" y="68833"/>
                  <a:pt x="1665883" y="73323"/>
                  <a:pt x="1669852" y="78879"/>
                </a:cubicBezTo>
                <a:cubicBezTo>
                  <a:pt x="1673821" y="84435"/>
                  <a:pt x="1676599" y="91033"/>
                  <a:pt x="1678186" y="98673"/>
                </a:cubicBezTo>
                <a:cubicBezTo>
                  <a:pt x="1679178" y="103634"/>
                  <a:pt x="1679675" y="112316"/>
                  <a:pt x="1679675" y="124718"/>
                </a:cubicBezTo>
                <a:lnTo>
                  <a:pt x="1679675" y="221903"/>
                </a:lnTo>
                <a:lnTo>
                  <a:pt x="1652885" y="221903"/>
                </a:lnTo>
                <a:lnTo>
                  <a:pt x="1652885" y="125760"/>
                </a:lnTo>
                <a:cubicBezTo>
                  <a:pt x="1652885" y="114846"/>
                  <a:pt x="1651844" y="106685"/>
                  <a:pt x="1649760" y="101278"/>
                </a:cubicBezTo>
                <a:cubicBezTo>
                  <a:pt x="1647676" y="95870"/>
                  <a:pt x="1643981" y="91554"/>
                  <a:pt x="1638672" y="88330"/>
                </a:cubicBezTo>
                <a:cubicBezTo>
                  <a:pt x="1633364" y="85105"/>
                  <a:pt x="1627138" y="83493"/>
                  <a:pt x="1619994" y="83493"/>
                </a:cubicBezTo>
                <a:cubicBezTo>
                  <a:pt x="1608584" y="83493"/>
                  <a:pt x="1598737" y="87114"/>
                  <a:pt x="1590452" y="94357"/>
                </a:cubicBezTo>
                <a:cubicBezTo>
                  <a:pt x="1582167" y="101600"/>
                  <a:pt x="1578025" y="115342"/>
                  <a:pt x="1578025" y="135583"/>
                </a:cubicBezTo>
                <a:lnTo>
                  <a:pt x="1578025" y="221903"/>
                </a:lnTo>
                <a:lnTo>
                  <a:pt x="1551236" y="221903"/>
                </a:lnTo>
                <a:lnTo>
                  <a:pt x="1551236" y="63848"/>
                </a:lnTo>
                <a:lnTo>
                  <a:pt x="1575346" y="63848"/>
                </a:lnTo>
                <a:lnTo>
                  <a:pt x="1575346" y="86321"/>
                </a:lnTo>
                <a:cubicBezTo>
                  <a:pt x="1586955" y="68957"/>
                  <a:pt x="1603723" y="60276"/>
                  <a:pt x="1625650" y="60276"/>
                </a:cubicBezTo>
                <a:close/>
                <a:moveTo>
                  <a:pt x="1453456" y="60276"/>
                </a:moveTo>
                <a:cubicBezTo>
                  <a:pt x="1475185" y="60276"/>
                  <a:pt x="1492945" y="67395"/>
                  <a:pt x="1506736" y="81633"/>
                </a:cubicBezTo>
                <a:cubicBezTo>
                  <a:pt x="1520528" y="95870"/>
                  <a:pt x="1527423" y="115540"/>
                  <a:pt x="1527423" y="140643"/>
                </a:cubicBezTo>
                <a:cubicBezTo>
                  <a:pt x="1527423" y="160983"/>
                  <a:pt x="1524372" y="176982"/>
                  <a:pt x="1518270" y="188640"/>
                </a:cubicBezTo>
                <a:cubicBezTo>
                  <a:pt x="1512168" y="200298"/>
                  <a:pt x="1503288" y="209352"/>
                  <a:pt x="1491630" y="215801"/>
                </a:cubicBezTo>
                <a:cubicBezTo>
                  <a:pt x="1479972" y="222250"/>
                  <a:pt x="1467247" y="225475"/>
                  <a:pt x="1453456" y="225475"/>
                </a:cubicBezTo>
                <a:cubicBezTo>
                  <a:pt x="1431330" y="225475"/>
                  <a:pt x="1413446" y="218381"/>
                  <a:pt x="1399803" y="204192"/>
                </a:cubicBezTo>
                <a:cubicBezTo>
                  <a:pt x="1386161" y="190004"/>
                  <a:pt x="1379339" y="169565"/>
                  <a:pt x="1379339" y="142875"/>
                </a:cubicBezTo>
                <a:cubicBezTo>
                  <a:pt x="1379339" y="113606"/>
                  <a:pt x="1387475" y="91926"/>
                  <a:pt x="1403747" y="77837"/>
                </a:cubicBezTo>
                <a:cubicBezTo>
                  <a:pt x="1417340" y="66130"/>
                  <a:pt x="1433910" y="60276"/>
                  <a:pt x="1453456" y="60276"/>
                </a:cubicBezTo>
                <a:close/>
                <a:moveTo>
                  <a:pt x="1141810" y="60276"/>
                </a:moveTo>
                <a:cubicBezTo>
                  <a:pt x="1155303" y="60276"/>
                  <a:pt x="1166267" y="61863"/>
                  <a:pt x="1174701" y="65038"/>
                </a:cubicBezTo>
                <a:cubicBezTo>
                  <a:pt x="1183134" y="68213"/>
                  <a:pt x="1189335" y="72207"/>
                  <a:pt x="1193304" y="77019"/>
                </a:cubicBezTo>
                <a:cubicBezTo>
                  <a:pt x="1197273" y="81831"/>
                  <a:pt x="1200051" y="87908"/>
                  <a:pt x="1201639" y="95250"/>
                </a:cubicBezTo>
                <a:cubicBezTo>
                  <a:pt x="1202532" y="99814"/>
                  <a:pt x="1202978" y="108049"/>
                  <a:pt x="1202978" y="119956"/>
                </a:cubicBezTo>
                <a:lnTo>
                  <a:pt x="1202978" y="155674"/>
                </a:lnTo>
                <a:cubicBezTo>
                  <a:pt x="1202978" y="180578"/>
                  <a:pt x="1203549" y="196329"/>
                  <a:pt x="1204690" y="202927"/>
                </a:cubicBezTo>
                <a:cubicBezTo>
                  <a:pt x="1205831" y="209525"/>
                  <a:pt x="1208088" y="215851"/>
                  <a:pt x="1211461" y="221903"/>
                </a:cubicBezTo>
                <a:lnTo>
                  <a:pt x="1183482" y="221903"/>
                </a:lnTo>
                <a:cubicBezTo>
                  <a:pt x="1180703" y="216347"/>
                  <a:pt x="1178918" y="209848"/>
                  <a:pt x="1178124" y="202407"/>
                </a:cubicBezTo>
                <a:cubicBezTo>
                  <a:pt x="1168202" y="210840"/>
                  <a:pt x="1158652" y="216793"/>
                  <a:pt x="1149474" y="220266"/>
                </a:cubicBezTo>
                <a:cubicBezTo>
                  <a:pt x="1140297" y="223739"/>
                  <a:pt x="1130449" y="225475"/>
                  <a:pt x="1119932" y="225475"/>
                </a:cubicBezTo>
                <a:cubicBezTo>
                  <a:pt x="1102569" y="225475"/>
                  <a:pt x="1089224" y="221233"/>
                  <a:pt x="1079897" y="212750"/>
                </a:cubicBezTo>
                <a:cubicBezTo>
                  <a:pt x="1070571" y="204267"/>
                  <a:pt x="1065907" y="193427"/>
                  <a:pt x="1065907" y="180231"/>
                </a:cubicBezTo>
                <a:cubicBezTo>
                  <a:pt x="1065907" y="172492"/>
                  <a:pt x="1067669" y="165423"/>
                  <a:pt x="1071191" y="159023"/>
                </a:cubicBezTo>
                <a:cubicBezTo>
                  <a:pt x="1074713" y="152624"/>
                  <a:pt x="1079327" y="147489"/>
                  <a:pt x="1085032" y="143619"/>
                </a:cubicBezTo>
                <a:cubicBezTo>
                  <a:pt x="1090737" y="139750"/>
                  <a:pt x="1097161" y="136823"/>
                  <a:pt x="1104305" y="134839"/>
                </a:cubicBezTo>
                <a:cubicBezTo>
                  <a:pt x="1109564" y="133449"/>
                  <a:pt x="1117501" y="132110"/>
                  <a:pt x="1128118" y="130820"/>
                </a:cubicBezTo>
                <a:cubicBezTo>
                  <a:pt x="1149747" y="128241"/>
                  <a:pt x="1165672" y="125165"/>
                  <a:pt x="1175891" y="121593"/>
                </a:cubicBezTo>
                <a:cubicBezTo>
                  <a:pt x="1175991" y="117922"/>
                  <a:pt x="1176040" y="115590"/>
                  <a:pt x="1176040" y="114598"/>
                </a:cubicBezTo>
                <a:cubicBezTo>
                  <a:pt x="1176040" y="103684"/>
                  <a:pt x="1173510" y="95994"/>
                  <a:pt x="1168450" y="91530"/>
                </a:cubicBezTo>
                <a:cubicBezTo>
                  <a:pt x="1161604" y="85477"/>
                  <a:pt x="1151434" y="82451"/>
                  <a:pt x="1137940" y="82451"/>
                </a:cubicBezTo>
                <a:cubicBezTo>
                  <a:pt x="1125339" y="82451"/>
                  <a:pt x="1116038" y="84659"/>
                  <a:pt x="1110035" y="89074"/>
                </a:cubicBezTo>
                <a:cubicBezTo>
                  <a:pt x="1104032" y="93489"/>
                  <a:pt x="1099592" y="101303"/>
                  <a:pt x="1096715" y="112514"/>
                </a:cubicBezTo>
                <a:lnTo>
                  <a:pt x="1070521" y="108942"/>
                </a:lnTo>
                <a:cubicBezTo>
                  <a:pt x="1072902" y="97731"/>
                  <a:pt x="1076821" y="88677"/>
                  <a:pt x="1082278" y="81781"/>
                </a:cubicBezTo>
                <a:cubicBezTo>
                  <a:pt x="1087735" y="74886"/>
                  <a:pt x="1095623" y="69577"/>
                  <a:pt x="1105942" y="65857"/>
                </a:cubicBezTo>
                <a:cubicBezTo>
                  <a:pt x="1116261" y="62136"/>
                  <a:pt x="1128217" y="60276"/>
                  <a:pt x="1141810" y="60276"/>
                </a:cubicBezTo>
                <a:close/>
                <a:moveTo>
                  <a:pt x="986433" y="60276"/>
                </a:moveTo>
                <a:cubicBezTo>
                  <a:pt x="1003598" y="60276"/>
                  <a:pt x="1017637" y="64616"/>
                  <a:pt x="1028552" y="73298"/>
                </a:cubicBezTo>
                <a:cubicBezTo>
                  <a:pt x="1039466" y="81980"/>
                  <a:pt x="1046460" y="94308"/>
                  <a:pt x="1049536" y="110282"/>
                </a:cubicBezTo>
                <a:lnTo>
                  <a:pt x="1023491" y="114300"/>
                </a:lnTo>
                <a:cubicBezTo>
                  <a:pt x="1021011" y="103684"/>
                  <a:pt x="1016620" y="95697"/>
                  <a:pt x="1010320" y="90339"/>
                </a:cubicBezTo>
                <a:cubicBezTo>
                  <a:pt x="1004020" y="84981"/>
                  <a:pt x="996405" y="82302"/>
                  <a:pt x="987475" y="82302"/>
                </a:cubicBezTo>
                <a:cubicBezTo>
                  <a:pt x="973981" y="82302"/>
                  <a:pt x="963018" y="87139"/>
                  <a:pt x="954584" y="96813"/>
                </a:cubicBezTo>
                <a:cubicBezTo>
                  <a:pt x="946150" y="106487"/>
                  <a:pt x="941934" y="121791"/>
                  <a:pt x="941934" y="142726"/>
                </a:cubicBezTo>
                <a:cubicBezTo>
                  <a:pt x="941934" y="163959"/>
                  <a:pt x="946002" y="179388"/>
                  <a:pt x="954137" y="189012"/>
                </a:cubicBezTo>
                <a:cubicBezTo>
                  <a:pt x="962273" y="198636"/>
                  <a:pt x="972890" y="203448"/>
                  <a:pt x="985987" y="203448"/>
                </a:cubicBezTo>
                <a:cubicBezTo>
                  <a:pt x="996504" y="203448"/>
                  <a:pt x="1005285" y="200224"/>
                  <a:pt x="1012329" y="193775"/>
                </a:cubicBezTo>
                <a:cubicBezTo>
                  <a:pt x="1019374" y="187325"/>
                  <a:pt x="1023839" y="177403"/>
                  <a:pt x="1025724" y="164009"/>
                </a:cubicBezTo>
                <a:lnTo>
                  <a:pt x="1052066" y="167432"/>
                </a:lnTo>
                <a:cubicBezTo>
                  <a:pt x="1049189" y="185589"/>
                  <a:pt x="1041822" y="199802"/>
                  <a:pt x="1029965" y="210071"/>
                </a:cubicBezTo>
                <a:cubicBezTo>
                  <a:pt x="1018109" y="220340"/>
                  <a:pt x="1003548" y="225475"/>
                  <a:pt x="986284" y="225475"/>
                </a:cubicBezTo>
                <a:cubicBezTo>
                  <a:pt x="964655" y="225475"/>
                  <a:pt x="947267" y="218406"/>
                  <a:pt x="934120" y="204267"/>
                </a:cubicBezTo>
                <a:cubicBezTo>
                  <a:pt x="920974" y="190128"/>
                  <a:pt x="914400" y="169863"/>
                  <a:pt x="914400" y="143471"/>
                </a:cubicBezTo>
                <a:cubicBezTo>
                  <a:pt x="914400" y="126405"/>
                  <a:pt x="917228" y="111473"/>
                  <a:pt x="922884" y="98673"/>
                </a:cubicBezTo>
                <a:cubicBezTo>
                  <a:pt x="928539" y="85874"/>
                  <a:pt x="937146" y="76275"/>
                  <a:pt x="948705" y="69875"/>
                </a:cubicBezTo>
                <a:cubicBezTo>
                  <a:pt x="960264" y="63475"/>
                  <a:pt x="972840" y="60276"/>
                  <a:pt x="986433" y="60276"/>
                </a:cubicBezTo>
                <a:close/>
                <a:moveTo>
                  <a:pt x="593527" y="60276"/>
                </a:moveTo>
                <a:cubicBezTo>
                  <a:pt x="605929" y="60276"/>
                  <a:pt x="616819" y="62062"/>
                  <a:pt x="626195" y="65633"/>
                </a:cubicBezTo>
                <a:cubicBezTo>
                  <a:pt x="635571" y="69205"/>
                  <a:pt x="642491" y="74042"/>
                  <a:pt x="646956" y="80144"/>
                </a:cubicBezTo>
                <a:cubicBezTo>
                  <a:pt x="651421" y="86246"/>
                  <a:pt x="654497" y="94407"/>
                  <a:pt x="656184" y="104626"/>
                </a:cubicBezTo>
                <a:lnTo>
                  <a:pt x="629990" y="108198"/>
                </a:lnTo>
                <a:cubicBezTo>
                  <a:pt x="628799" y="100062"/>
                  <a:pt x="625351" y="93712"/>
                  <a:pt x="619646" y="89148"/>
                </a:cubicBezTo>
                <a:cubicBezTo>
                  <a:pt x="613941" y="84584"/>
                  <a:pt x="605880" y="82302"/>
                  <a:pt x="595462" y="82302"/>
                </a:cubicBezTo>
                <a:cubicBezTo>
                  <a:pt x="583159" y="82302"/>
                  <a:pt x="574378" y="84336"/>
                  <a:pt x="569119" y="88404"/>
                </a:cubicBezTo>
                <a:cubicBezTo>
                  <a:pt x="563861" y="92472"/>
                  <a:pt x="561231" y="97235"/>
                  <a:pt x="561231" y="102692"/>
                </a:cubicBezTo>
                <a:cubicBezTo>
                  <a:pt x="561231" y="106164"/>
                  <a:pt x="562323" y="109290"/>
                  <a:pt x="564505" y="112068"/>
                </a:cubicBezTo>
                <a:cubicBezTo>
                  <a:pt x="566688" y="114945"/>
                  <a:pt x="570111" y="117326"/>
                  <a:pt x="574775" y="119212"/>
                </a:cubicBezTo>
                <a:cubicBezTo>
                  <a:pt x="577454" y="120204"/>
                  <a:pt x="585341" y="122486"/>
                  <a:pt x="598438" y="126058"/>
                </a:cubicBezTo>
                <a:cubicBezTo>
                  <a:pt x="617389" y="131118"/>
                  <a:pt x="630610" y="135260"/>
                  <a:pt x="638101" y="138485"/>
                </a:cubicBezTo>
                <a:cubicBezTo>
                  <a:pt x="645592" y="141709"/>
                  <a:pt x="651471" y="146398"/>
                  <a:pt x="655737" y="152549"/>
                </a:cubicBezTo>
                <a:cubicBezTo>
                  <a:pt x="660003" y="158701"/>
                  <a:pt x="662137" y="166341"/>
                  <a:pt x="662137" y="175469"/>
                </a:cubicBezTo>
                <a:cubicBezTo>
                  <a:pt x="662137" y="184398"/>
                  <a:pt x="659532" y="192807"/>
                  <a:pt x="654323" y="200695"/>
                </a:cubicBezTo>
                <a:cubicBezTo>
                  <a:pt x="649114" y="208583"/>
                  <a:pt x="641598" y="214685"/>
                  <a:pt x="631776" y="219001"/>
                </a:cubicBezTo>
                <a:cubicBezTo>
                  <a:pt x="621953" y="223317"/>
                  <a:pt x="610841" y="225475"/>
                  <a:pt x="598438" y="225475"/>
                </a:cubicBezTo>
                <a:cubicBezTo>
                  <a:pt x="577900" y="225475"/>
                  <a:pt x="562248" y="221208"/>
                  <a:pt x="551483" y="212676"/>
                </a:cubicBezTo>
                <a:cubicBezTo>
                  <a:pt x="540718" y="204143"/>
                  <a:pt x="533847" y="191492"/>
                  <a:pt x="530870" y="174724"/>
                </a:cubicBezTo>
                <a:lnTo>
                  <a:pt x="557362" y="170557"/>
                </a:lnTo>
                <a:cubicBezTo>
                  <a:pt x="558850" y="181174"/>
                  <a:pt x="562992" y="189310"/>
                  <a:pt x="569789" y="194965"/>
                </a:cubicBezTo>
                <a:cubicBezTo>
                  <a:pt x="576585" y="200621"/>
                  <a:pt x="586086" y="203448"/>
                  <a:pt x="598289" y="203448"/>
                </a:cubicBezTo>
                <a:cubicBezTo>
                  <a:pt x="610593" y="203448"/>
                  <a:pt x="619721" y="200943"/>
                  <a:pt x="625674" y="195933"/>
                </a:cubicBezTo>
                <a:cubicBezTo>
                  <a:pt x="631627" y="190922"/>
                  <a:pt x="634603" y="185043"/>
                  <a:pt x="634603" y="178296"/>
                </a:cubicBezTo>
                <a:cubicBezTo>
                  <a:pt x="634603" y="172244"/>
                  <a:pt x="631974" y="167482"/>
                  <a:pt x="626716" y="164009"/>
                </a:cubicBezTo>
                <a:cubicBezTo>
                  <a:pt x="623045" y="161628"/>
                  <a:pt x="613916" y="158601"/>
                  <a:pt x="599331" y="154930"/>
                </a:cubicBezTo>
                <a:cubicBezTo>
                  <a:pt x="579686" y="149969"/>
                  <a:pt x="566068" y="145678"/>
                  <a:pt x="558478" y="142057"/>
                </a:cubicBezTo>
                <a:cubicBezTo>
                  <a:pt x="550888" y="138435"/>
                  <a:pt x="545133" y="133425"/>
                  <a:pt x="541214" y="127025"/>
                </a:cubicBezTo>
                <a:cubicBezTo>
                  <a:pt x="537295" y="120625"/>
                  <a:pt x="535335" y="113556"/>
                  <a:pt x="535335" y="105817"/>
                </a:cubicBezTo>
                <a:cubicBezTo>
                  <a:pt x="535335" y="98773"/>
                  <a:pt x="536947" y="92249"/>
                  <a:pt x="540172" y="86246"/>
                </a:cubicBezTo>
                <a:cubicBezTo>
                  <a:pt x="543397" y="80243"/>
                  <a:pt x="547787" y="75258"/>
                  <a:pt x="553343" y="71289"/>
                </a:cubicBezTo>
                <a:cubicBezTo>
                  <a:pt x="557510" y="68213"/>
                  <a:pt x="563191" y="65609"/>
                  <a:pt x="570384" y="63475"/>
                </a:cubicBezTo>
                <a:cubicBezTo>
                  <a:pt x="577578" y="61342"/>
                  <a:pt x="585292" y="60276"/>
                  <a:pt x="593527" y="60276"/>
                </a:cubicBezTo>
                <a:close/>
                <a:moveTo>
                  <a:pt x="441127" y="60276"/>
                </a:moveTo>
                <a:cubicBezTo>
                  <a:pt x="453529" y="60276"/>
                  <a:pt x="464419" y="62062"/>
                  <a:pt x="473795" y="65633"/>
                </a:cubicBezTo>
                <a:cubicBezTo>
                  <a:pt x="483171" y="69205"/>
                  <a:pt x="490091" y="74042"/>
                  <a:pt x="494556" y="80144"/>
                </a:cubicBezTo>
                <a:cubicBezTo>
                  <a:pt x="499021" y="86246"/>
                  <a:pt x="502097" y="94407"/>
                  <a:pt x="503784" y="104626"/>
                </a:cubicBezTo>
                <a:lnTo>
                  <a:pt x="477590" y="108198"/>
                </a:lnTo>
                <a:cubicBezTo>
                  <a:pt x="476399" y="100062"/>
                  <a:pt x="472951" y="93712"/>
                  <a:pt x="467246" y="89148"/>
                </a:cubicBezTo>
                <a:cubicBezTo>
                  <a:pt x="461541" y="84584"/>
                  <a:pt x="453480" y="82302"/>
                  <a:pt x="443062" y="82302"/>
                </a:cubicBezTo>
                <a:cubicBezTo>
                  <a:pt x="430759" y="82302"/>
                  <a:pt x="421978" y="84336"/>
                  <a:pt x="416719" y="88404"/>
                </a:cubicBezTo>
                <a:cubicBezTo>
                  <a:pt x="411461" y="92472"/>
                  <a:pt x="408831" y="97235"/>
                  <a:pt x="408831" y="102692"/>
                </a:cubicBezTo>
                <a:cubicBezTo>
                  <a:pt x="408831" y="106164"/>
                  <a:pt x="409923" y="109290"/>
                  <a:pt x="412105" y="112068"/>
                </a:cubicBezTo>
                <a:cubicBezTo>
                  <a:pt x="414288" y="114945"/>
                  <a:pt x="417711" y="117326"/>
                  <a:pt x="422375" y="119212"/>
                </a:cubicBezTo>
                <a:cubicBezTo>
                  <a:pt x="425053" y="120204"/>
                  <a:pt x="432941" y="122486"/>
                  <a:pt x="446038" y="126058"/>
                </a:cubicBezTo>
                <a:cubicBezTo>
                  <a:pt x="464989" y="131118"/>
                  <a:pt x="478210" y="135260"/>
                  <a:pt x="485701" y="138485"/>
                </a:cubicBezTo>
                <a:cubicBezTo>
                  <a:pt x="493192" y="141709"/>
                  <a:pt x="499071" y="146398"/>
                  <a:pt x="503337" y="152549"/>
                </a:cubicBezTo>
                <a:cubicBezTo>
                  <a:pt x="507603" y="158701"/>
                  <a:pt x="509737" y="166341"/>
                  <a:pt x="509737" y="175469"/>
                </a:cubicBezTo>
                <a:cubicBezTo>
                  <a:pt x="509737" y="184398"/>
                  <a:pt x="507132" y="192807"/>
                  <a:pt x="501923" y="200695"/>
                </a:cubicBezTo>
                <a:cubicBezTo>
                  <a:pt x="496714" y="208583"/>
                  <a:pt x="489198" y="214685"/>
                  <a:pt x="479376" y="219001"/>
                </a:cubicBezTo>
                <a:cubicBezTo>
                  <a:pt x="469553" y="223317"/>
                  <a:pt x="458441" y="225475"/>
                  <a:pt x="446038" y="225475"/>
                </a:cubicBezTo>
                <a:cubicBezTo>
                  <a:pt x="425500" y="225475"/>
                  <a:pt x="409848" y="221208"/>
                  <a:pt x="399083" y="212676"/>
                </a:cubicBezTo>
                <a:cubicBezTo>
                  <a:pt x="388318" y="204143"/>
                  <a:pt x="381447" y="191492"/>
                  <a:pt x="378470" y="174724"/>
                </a:cubicBezTo>
                <a:lnTo>
                  <a:pt x="404962" y="170557"/>
                </a:lnTo>
                <a:cubicBezTo>
                  <a:pt x="406450" y="181174"/>
                  <a:pt x="410592" y="189310"/>
                  <a:pt x="417389" y="194965"/>
                </a:cubicBezTo>
                <a:cubicBezTo>
                  <a:pt x="424185" y="200621"/>
                  <a:pt x="433685" y="203448"/>
                  <a:pt x="445889" y="203448"/>
                </a:cubicBezTo>
                <a:cubicBezTo>
                  <a:pt x="458192" y="203448"/>
                  <a:pt x="467321" y="200943"/>
                  <a:pt x="473274" y="195933"/>
                </a:cubicBezTo>
                <a:cubicBezTo>
                  <a:pt x="479227" y="190922"/>
                  <a:pt x="482203" y="185043"/>
                  <a:pt x="482203" y="178296"/>
                </a:cubicBezTo>
                <a:cubicBezTo>
                  <a:pt x="482203" y="172244"/>
                  <a:pt x="479574" y="167482"/>
                  <a:pt x="474316" y="164009"/>
                </a:cubicBezTo>
                <a:cubicBezTo>
                  <a:pt x="470644" y="161628"/>
                  <a:pt x="461516" y="158601"/>
                  <a:pt x="446931" y="154930"/>
                </a:cubicBezTo>
                <a:cubicBezTo>
                  <a:pt x="427286" y="149969"/>
                  <a:pt x="413668" y="145678"/>
                  <a:pt x="406078" y="142057"/>
                </a:cubicBezTo>
                <a:cubicBezTo>
                  <a:pt x="398488" y="138435"/>
                  <a:pt x="392733" y="133425"/>
                  <a:pt x="388814" y="127025"/>
                </a:cubicBezTo>
                <a:cubicBezTo>
                  <a:pt x="384895" y="120625"/>
                  <a:pt x="382935" y="113556"/>
                  <a:pt x="382935" y="105817"/>
                </a:cubicBezTo>
                <a:cubicBezTo>
                  <a:pt x="382935" y="98773"/>
                  <a:pt x="384547" y="92249"/>
                  <a:pt x="387772" y="86246"/>
                </a:cubicBezTo>
                <a:cubicBezTo>
                  <a:pt x="390997" y="80243"/>
                  <a:pt x="395387" y="75258"/>
                  <a:pt x="400943" y="71289"/>
                </a:cubicBezTo>
                <a:cubicBezTo>
                  <a:pt x="405111" y="68213"/>
                  <a:pt x="410791" y="65609"/>
                  <a:pt x="417984" y="63475"/>
                </a:cubicBezTo>
                <a:cubicBezTo>
                  <a:pt x="425177" y="61342"/>
                  <a:pt x="432892" y="60276"/>
                  <a:pt x="441127" y="60276"/>
                </a:cubicBezTo>
                <a:close/>
                <a:moveTo>
                  <a:pt x="294085" y="60276"/>
                </a:moveTo>
                <a:cubicBezTo>
                  <a:pt x="307578" y="60276"/>
                  <a:pt x="318542" y="61863"/>
                  <a:pt x="326976" y="65038"/>
                </a:cubicBezTo>
                <a:cubicBezTo>
                  <a:pt x="335409" y="68213"/>
                  <a:pt x="341610" y="72207"/>
                  <a:pt x="345579" y="77019"/>
                </a:cubicBezTo>
                <a:cubicBezTo>
                  <a:pt x="349548" y="81831"/>
                  <a:pt x="352326" y="87908"/>
                  <a:pt x="353914" y="95250"/>
                </a:cubicBezTo>
                <a:cubicBezTo>
                  <a:pt x="354807" y="99814"/>
                  <a:pt x="355253" y="108049"/>
                  <a:pt x="355253" y="119956"/>
                </a:cubicBezTo>
                <a:lnTo>
                  <a:pt x="355253" y="155674"/>
                </a:lnTo>
                <a:cubicBezTo>
                  <a:pt x="355253" y="180578"/>
                  <a:pt x="355824" y="196329"/>
                  <a:pt x="356965" y="202927"/>
                </a:cubicBezTo>
                <a:cubicBezTo>
                  <a:pt x="358106" y="209525"/>
                  <a:pt x="360363" y="215851"/>
                  <a:pt x="363736" y="221903"/>
                </a:cubicBezTo>
                <a:lnTo>
                  <a:pt x="335757" y="221903"/>
                </a:lnTo>
                <a:cubicBezTo>
                  <a:pt x="332978" y="216347"/>
                  <a:pt x="331193" y="209848"/>
                  <a:pt x="330399" y="202407"/>
                </a:cubicBezTo>
                <a:cubicBezTo>
                  <a:pt x="320477" y="210840"/>
                  <a:pt x="310927" y="216793"/>
                  <a:pt x="301749" y="220266"/>
                </a:cubicBezTo>
                <a:cubicBezTo>
                  <a:pt x="292572" y="223739"/>
                  <a:pt x="282724" y="225475"/>
                  <a:pt x="272207" y="225475"/>
                </a:cubicBezTo>
                <a:cubicBezTo>
                  <a:pt x="254844" y="225475"/>
                  <a:pt x="241499" y="221233"/>
                  <a:pt x="232172" y="212750"/>
                </a:cubicBezTo>
                <a:cubicBezTo>
                  <a:pt x="222846" y="204267"/>
                  <a:pt x="218182" y="193427"/>
                  <a:pt x="218182" y="180231"/>
                </a:cubicBezTo>
                <a:cubicBezTo>
                  <a:pt x="218182" y="172492"/>
                  <a:pt x="219944" y="165423"/>
                  <a:pt x="223466" y="159023"/>
                </a:cubicBezTo>
                <a:cubicBezTo>
                  <a:pt x="226988" y="152624"/>
                  <a:pt x="231602" y="147489"/>
                  <a:pt x="237307" y="143619"/>
                </a:cubicBezTo>
                <a:cubicBezTo>
                  <a:pt x="243012" y="139750"/>
                  <a:pt x="249436" y="136823"/>
                  <a:pt x="256580" y="134839"/>
                </a:cubicBezTo>
                <a:cubicBezTo>
                  <a:pt x="261839" y="133449"/>
                  <a:pt x="269776" y="132110"/>
                  <a:pt x="280393" y="130820"/>
                </a:cubicBezTo>
                <a:cubicBezTo>
                  <a:pt x="302022" y="128241"/>
                  <a:pt x="317947" y="125165"/>
                  <a:pt x="328166" y="121593"/>
                </a:cubicBezTo>
                <a:cubicBezTo>
                  <a:pt x="328266" y="117922"/>
                  <a:pt x="328315" y="115590"/>
                  <a:pt x="328315" y="114598"/>
                </a:cubicBezTo>
                <a:cubicBezTo>
                  <a:pt x="328315" y="103684"/>
                  <a:pt x="325785" y="95994"/>
                  <a:pt x="320725" y="91530"/>
                </a:cubicBezTo>
                <a:cubicBezTo>
                  <a:pt x="313879" y="85477"/>
                  <a:pt x="303709" y="82451"/>
                  <a:pt x="290215" y="82451"/>
                </a:cubicBezTo>
                <a:cubicBezTo>
                  <a:pt x="277614" y="82451"/>
                  <a:pt x="268313" y="84659"/>
                  <a:pt x="262310" y="89074"/>
                </a:cubicBezTo>
                <a:cubicBezTo>
                  <a:pt x="256307" y="93489"/>
                  <a:pt x="251867" y="101303"/>
                  <a:pt x="248990" y="112514"/>
                </a:cubicBezTo>
                <a:lnTo>
                  <a:pt x="222796" y="108942"/>
                </a:lnTo>
                <a:cubicBezTo>
                  <a:pt x="225177" y="97731"/>
                  <a:pt x="229096" y="88677"/>
                  <a:pt x="234553" y="81781"/>
                </a:cubicBezTo>
                <a:cubicBezTo>
                  <a:pt x="240011" y="74886"/>
                  <a:pt x="247898" y="69577"/>
                  <a:pt x="258217" y="65857"/>
                </a:cubicBezTo>
                <a:cubicBezTo>
                  <a:pt x="268536" y="62136"/>
                  <a:pt x="280492" y="60276"/>
                  <a:pt x="294085" y="60276"/>
                </a:cubicBezTo>
                <a:close/>
                <a:moveTo>
                  <a:pt x="72033" y="60276"/>
                </a:moveTo>
                <a:cubicBezTo>
                  <a:pt x="89198" y="60276"/>
                  <a:pt x="103237" y="64616"/>
                  <a:pt x="114152" y="73298"/>
                </a:cubicBezTo>
                <a:cubicBezTo>
                  <a:pt x="125066" y="81980"/>
                  <a:pt x="132060" y="94308"/>
                  <a:pt x="135136" y="110282"/>
                </a:cubicBezTo>
                <a:lnTo>
                  <a:pt x="109091" y="114300"/>
                </a:lnTo>
                <a:cubicBezTo>
                  <a:pt x="106611" y="103684"/>
                  <a:pt x="102220" y="95697"/>
                  <a:pt x="95920" y="90339"/>
                </a:cubicBezTo>
                <a:cubicBezTo>
                  <a:pt x="89620" y="84981"/>
                  <a:pt x="82005" y="82302"/>
                  <a:pt x="73075" y="82302"/>
                </a:cubicBezTo>
                <a:cubicBezTo>
                  <a:pt x="59581" y="82302"/>
                  <a:pt x="48618" y="87139"/>
                  <a:pt x="40184" y="96813"/>
                </a:cubicBezTo>
                <a:cubicBezTo>
                  <a:pt x="31750" y="106487"/>
                  <a:pt x="27534" y="121791"/>
                  <a:pt x="27534" y="142726"/>
                </a:cubicBezTo>
                <a:cubicBezTo>
                  <a:pt x="27534" y="163959"/>
                  <a:pt x="31601" y="179388"/>
                  <a:pt x="39737" y="189012"/>
                </a:cubicBezTo>
                <a:cubicBezTo>
                  <a:pt x="47873" y="198636"/>
                  <a:pt x="58490" y="203448"/>
                  <a:pt x="71587" y="203448"/>
                </a:cubicBezTo>
                <a:cubicBezTo>
                  <a:pt x="82104" y="203448"/>
                  <a:pt x="90885" y="200224"/>
                  <a:pt x="97929" y="193775"/>
                </a:cubicBezTo>
                <a:cubicBezTo>
                  <a:pt x="104974" y="187325"/>
                  <a:pt x="109439" y="177403"/>
                  <a:pt x="111324" y="164009"/>
                </a:cubicBezTo>
                <a:lnTo>
                  <a:pt x="137666" y="167432"/>
                </a:lnTo>
                <a:cubicBezTo>
                  <a:pt x="134789" y="185589"/>
                  <a:pt x="127422" y="199802"/>
                  <a:pt x="115565" y="210071"/>
                </a:cubicBezTo>
                <a:cubicBezTo>
                  <a:pt x="103709" y="220340"/>
                  <a:pt x="89148" y="225475"/>
                  <a:pt x="71884" y="225475"/>
                </a:cubicBezTo>
                <a:cubicBezTo>
                  <a:pt x="50255" y="225475"/>
                  <a:pt x="32867" y="218406"/>
                  <a:pt x="19720" y="204267"/>
                </a:cubicBezTo>
                <a:cubicBezTo>
                  <a:pt x="6574" y="190128"/>
                  <a:pt x="0" y="169863"/>
                  <a:pt x="0" y="143471"/>
                </a:cubicBezTo>
                <a:cubicBezTo>
                  <a:pt x="0" y="126405"/>
                  <a:pt x="2828" y="111473"/>
                  <a:pt x="8484" y="98673"/>
                </a:cubicBezTo>
                <a:cubicBezTo>
                  <a:pt x="14139" y="85874"/>
                  <a:pt x="22746" y="76275"/>
                  <a:pt x="34305" y="69875"/>
                </a:cubicBezTo>
                <a:cubicBezTo>
                  <a:pt x="45864" y="63475"/>
                  <a:pt x="58440" y="60276"/>
                  <a:pt x="72033" y="60276"/>
                </a:cubicBezTo>
                <a:close/>
                <a:moveTo>
                  <a:pt x="1268462" y="8632"/>
                </a:moveTo>
                <a:lnTo>
                  <a:pt x="1268462" y="63848"/>
                </a:lnTo>
                <a:lnTo>
                  <a:pt x="1295400" y="63848"/>
                </a:lnTo>
                <a:lnTo>
                  <a:pt x="1295400" y="84683"/>
                </a:lnTo>
                <a:lnTo>
                  <a:pt x="1268462" y="84683"/>
                </a:lnTo>
                <a:lnTo>
                  <a:pt x="1268462" y="177106"/>
                </a:lnTo>
                <a:cubicBezTo>
                  <a:pt x="1268462" y="184746"/>
                  <a:pt x="1268934" y="189657"/>
                  <a:pt x="1269876" y="191840"/>
                </a:cubicBezTo>
                <a:cubicBezTo>
                  <a:pt x="1270819" y="194023"/>
                  <a:pt x="1272357" y="195759"/>
                  <a:pt x="1274490" y="197049"/>
                </a:cubicBezTo>
                <a:cubicBezTo>
                  <a:pt x="1276623" y="198339"/>
                  <a:pt x="1279674" y="198983"/>
                  <a:pt x="1283643" y="198983"/>
                </a:cubicBezTo>
                <a:cubicBezTo>
                  <a:pt x="1286619" y="198983"/>
                  <a:pt x="1290539" y="198636"/>
                  <a:pt x="1295400" y="197942"/>
                </a:cubicBezTo>
                <a:lnTo>
                  <a:pt x="1299270" y="221605"/>
                </a:lnTo>
                <a:cubicBezTo>
                  <a:pt x="1291729" y="223193"/>
                  <a:pt x="1284982" y="223987"/>
                  <a:pt x="1279029" y="223987"/>
                </a:cubicBezTo>
                <a:cubicBezTo>
                  <a:pt x="1269306" y="223987"/>
                  <a:pt x="1261765" y="222449"/>
                  <a:pt x="1256407" y="219373"/>
                </a:cubicBezTo>
                <a:cubicBezTo>
                  <a:pt x="1251050" y="216297"/>
                  <a:pt x="1247279" y="212254"/>
                  <a:pt x="1245096" y="207243"/>
                </a:cubicBezTo>
                <a:cubicBezTo>
                  <a:pt x="1242914" y="202233"/>
                  <a:pt x="1241822" y="191691"/>
                  <a:pt x="1241822" y="175617"/>
                </a:cubicBezTo>
                <a:lnTo>
                  <a:pt x="1241822" y="84683"/>
                </a:lnTo>
                <a:lnTo>
                  <a:pt x="1222177" y="84683"/>
                </a:lnTo>
                <a:lnTo>
                  <a:pt x="1222177" y="63848"/>
                </a:lnTo>
                <a:lnTo>
                  <a:pt x="1241822" y="63848"/>
                </a:lnTo>
                <a:lnTo>
                  <a:pt x="1241822" y="24706"/>
                </a:lnTo>
                <a:close/>
                <a:moveTo>
                  <a:pt x="1322785" y="3721"/>
                </a:moveTo>
                <a:lnTo>
                  <a:pt x="1349574" y="3721"/>
                </a:lnTo>
                <a:lnTo>
                  <a:pt x="1349574" y="34528"/>
                </a:lnTo>
                <a:lnTo>
                  <a:pt x="1322785" y="34528"/>
                </a:lnTo>
                <a:close/>
                <a:moveTo>
                  <a:pt x="856060" y="3721"/>
                </a:moveTo>
                <a:lnTo>
                  <a:pt x="882849" y="3721"/>
                </a:lnTo>
                <a:lnTo>
                  <a:pt x="882849" y="34528"/>
                </a:lnTo>
                <a:lnTo>
                  <a:pt x="856060" y="34528"/>
                </a:lnTo>
                <a:close/>
                <a:moveTo>
                  <a:pt x="694135" y="3721"/>
                </a:moveTo>
                <a:lnTo>
                  <a:pt x="720924" y="3721"/>
                </a:lnTo>
                <a:lnTo>
                  <a:pt x="720924" y="34528"/>
                </a:lnTo>
                <a:lnTo>
                  <a:pt x="694135" y="34528"/>
                </a:lnTo>
                <a:close/>
                <a:moveTo>
                  <a:pt x="159991" y="3721"/>
                </a:moveTo>
                <a:lnTo>
                  <a:pt x="186780" y="3721"/>
                </a:lnTo>
                <a:lnTo>
                  <a:pt x="186780" y="221903"/>
                </a:lnTo>
                <a:lnTo>
                  <a:pt x="159991" y="221903"/>
                </a:lnTo>
                <a:close/>
                <a:moveTo>
                  <a:pt x="810816" y="0"/>
                </a:moveTo>
                <a:cubicBezTo>
                  <a:pt x="818357" y="0"/>
                  <a:pt x="826691" y="893"/>
                  <a:pt x="835819" y="2679"/>
                </a:cubicBezTo>
                <a:lnTo>
                  <a:pt x="831801" y="26045"/>
                </a:lnTo>
                <a:cubicBezTo>
                  <a:pt x="826244" y="25053"/>
                  <a:pt x="820986" y="24557"/>
                  <a:pt x="816025" y="24557"/>
                </a:cubicBezTo>
                <a:cubicBezTo>
                  <a:pt x="807889" y="24557"/>
                  <a:pt x="802134" y="26293"/>
                  <a:pt x="798761" y="29766"/>
                </a:cubicBezTo>
                <a:cubicBezTo>
                  <a:pt x="795387" y="33239"/>
                  <a:pt x="793701" y="39737"/>
                  <a:pt x="793701" y="49262"/>
                </a:cubicBezTo>
                <a:lnTo>
                  <a:pt x="793701" y="63848"/>
                </a:lnTo>
                <a:lnTo>
                  <a:pt x="824508" y="63848"/>
                </a:lnTo>
                <a:lnTo>
                  <a:pt x="824508" y="84683"/>
                </a:lnTo>
                <a:lnTo>
                  <a:pt x="793701" y="84683"/>
                </a:lnTo>
                <a:lnTo>
                  <a:pt x="793701" y="221903"/>
                </a:lnTo>
                <a:lnTo>
                  <a:pt x="767060" y="221903"/>
                </a:lnTo>
                <a:lnTo>
                  <a:pt x="767060" y="84683"/>
                </a:lnTo>
                <a:lnTo>
                  <a:pt x="743397" y="84683"/>
                </a:lnTo>
                <a:lnTo>
                  <a:pt x="743397" y="63848"/>
                </a:lnTo>
                <a:lnTo>
                  <a:pt x="767060" y="63848"/>
                </a:lnTo>
                <a:lnTo>
                  <a:pt x="767060" y="47030"/>
                </a:lnTo>
                <a:cubicBezTo>
                  <a:pt x="767060" y="36414"/>
                  <a:pt x="768003" y="28526"/>
                  <a:pt x="769888" y="23366"/>
                </a:cubicBezTo>
                <a:cubicBezTo>
                  <a:pt x="772468" y="16421"/>
                  <a:pt x="777007" y="10790"/>
                  <a:pt x="783506" y="6474"/>
                </a:cubicBezTo>
                <a:cubicBezTo>
                  <a:pt x="790005" y="2158"/>
                  <a:pt x="799108" y="0"/>
                  <a:pt x="810816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buFont typeface="Arial" panose="020B0604020202020204" pitchFamily="34" charset="0"/>
              <a:buNone/>
              <a:defRPr sz="100" b="0">
                <a:noFill/>
              </a:defRPr>
            </a:lvl3pPr>
            <a:lvl4pPr marL="0" indent="0">
              <a:buFont typeface="Arial" panose="020B0604020202020204" pitchFamily="34" charset="0"/>
              <a:buNone/>
              <a:defRPr sz="100" b="0">
                <a:noFill/>
              </a:defRPr>
            </a:lvl4pPr>
            <a:lvl5pPr marL="0" indent="0">
              <a:buFont typeface="Arial" panose="020B0604020202020204" pitchFamily="34" charset="0"/>
              <a:buNone/>
              <a:defRPr sz="100" b="0">
                <a:noFill/>
              </a:defRPr>
            </a:lvl5pPr>
            <a:lvl6pPr marL="0" indent="0"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reeform 8"/>
          <p:cNvSpPr>
            <a:spLocks noEditPoints="1"/>
          </p:cNvSpPr>
          <p:nvPr userDrawn="1"/>
        </p:nvSpPr>
        <p:spPr bwMode="gray">
          <a:xfrm>
            <a:off x="4168942" y="2486620"/>
            <a:ext cx="808466" cy="805514"/>
          </a:xfrm>
          <a:custGeom>
            <a:avLst/>
            <a:gdLst>
              <a:gd name="T0" fmla="*/ 120 w 120"/>
              <a:gd name="T1" fmla="*/ 60 h 120"/>
              <a:gd name="T2" fmla="*/ 60 w 120"/>
              <a:gd name="T3" fmla="*/ 120 h 120"/>
              <a:gd name="T4" fmla="*/ 0 w 120"/>
              <a:gd name="T5" fmla="*/ 60 h 120"/>
              <a:gd name="T6" fmla="*/ 60 w 120"/>
              <a:gd name="T7" fmla="*/ 0 h 120"/>
              <a:gd name="T8" fmla="*/ 120 w 120"/>
              <a:gd name="T9" fmla="*/ 60 h 120"/>
              <a:gd name="T10" fmla="*/ 65 w 120"/>
              <a:gd name="T11" fmla="*/ 74 h 120"/>
              <a:gd name="T12" fmla="*/ 71 w 120"/>
              <a:gd name="T13" fmla="*/ 26 h 120"/>
              <a:gd name="T14" fmla="*/ 60 w 120"/>
              <a:gd name="T15" fmla="*/ 36 h 120"/>
              <a:gd name="T16" fmla="*/ 49 w 120"/>
              <a:gd name="T17" fmla="*/ 26 h 120"/>
              <a:gd name="T18" fmla="*/ 56 w 120"/>
              <a:gd name="T19" fmla="*/ 74 h 120"/>
              <a:gd name="T20" fmla="*/ 65 w 120"/>
              <a:gd name="T21" fmla="*/ 74 h 120"/>
              <a:gd name="T22" fmla="*/ 36 w 120"/>
              <a:gd name="T23" fmla="*/ 80 h 120"/>
              <a:gd name="T24" fmla="*/ 41 w 120"/>
              <a:gd name="T25" fmla="*/ 74 h 120"/>
              <a:gd name="T26" fmla="*/ 33 w 120"/>
              <a:gd name="T27" fmla="*/ 59 h 120"/>
              <a:gd name="T28" fmla="*/ 50 w 120"/>
              <a:gd name="T29" fmla="*/ 42 h 120"/>
              <a:gd name="T30" fmla="*/ 40 w 120"/>
              <a:gd name="T31" fmla="*/ 32 h 120"/>
              <a:gd name="T32" fmla="*/ 20 w 120"/>
              <a:gd name="T33" fmla="*/ 54 h 120"/>
              <a:gd name="T34" fmla="*/ 36 w 120"/>
              <a:gd name="T35" fmla="*/ 80 h 120"/>
              <a:gd name="T36" fmla="*/ 81 w 120"/>
              <a:gd name="T37" fmla="*/ 32 h 120"/>
              <a:gd name="T38" fmla="*/ 71 w 120"/>
              <a:gd name="T39" fmla="*/ 42 h 120"/>
              <a:gd name="T40" fmla="*/ 87 w 120"/>
              <a:gd name="T41" fmla="*/ 57 h 120"/>
              <a:gd name="T42" fmla="*/ 79 w 120"/>
              <a:gd name="T43" fmla="*/ 74 h 120"/>
              <a:gd name="T44" fmla="*/ 82 w 120"/>
              <a:gd name="T45" fmla="*/ 77 h 120"/>
              <a:gd name="T46" fmla="*/ 84 w 120"/>
              <a:gd name="T47" fmla="*/ 80 h 120"/>
              <a:gd name="T48" fmla="*/ 89 w 120"/>
              <a:gd name="T49" fmla="*/ 77 h 120"/>
              <a:gd name="T50" fmla="*/ 100 w 120"/>
              <a:gd name="T51" fmla="*/ 53 h 120"/>
              <a:gd name="T52" fmla="*/ 81 w 120"/>
              <a:gd name="T53" fmla="*/ 32 h 120"/>
              <a:gd name="T54" fmla="*/ 35 w 120"/>
              <a:gd name="T55" fmla="*/ 81 h 120"/>
              <a:gd name="T56" fmla="*/ 25 w 120"/>
              <a:gd name="T57" fmla="*/ 90 h 120"/>
              <a:gd name="T58" fmla="*/ 25 w 120"/>
              <a:gd name="T59" fmla="*/ 91 h 120"/>
              <a:gd name="T60" fmla="*/ 95 w 120"/>
              <a:gd name="T61" fmla="*/ 91 h 120"/>
              <a:gd name="T62" fmla="*/ 85 w 120"/>
              <a:gd name="T63" fmla="*/ 81 h 120"/>
              <a:gd name="T64" fmla="*/ 35 w 120"/>
              <a:gd name="T65" fmla="*/ 81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0" h="120">
                <a:moveTo>
                  <a:pt x="120" y="60"/>
                </a:moveTo>
                <a:cubicBezTo>
                  <a:pt x="120" y="93"/>
                  <a:pt x="93" y="120"/>
                  <a:pt x="60" y="120"/>
                </a:cubicBezTo>
                <a:cubicBezTo>
                  <a:pt x="27" y="120"/>
                  <a:pt x="0" y="93"/>
                  <a:pt x="0" y="60"/>
                </a:cubicBezTo>
                <a:cubicBezTo>
                  <a:pt x="0" y="27"/>
                  <a:pt x="27" y="0"/>
                  <a:pt x="60" y="0"/>
                </a:cubicBezTo>
                <a:cubicBezTo>
                  <a:pt x="93" y="0"/>
                  <a:pt x="120" y="27"/>
                  <a:pt x="120" y="60"/>
                </a:cubicBezTo>
                <a:moveTo>
                  <a:pt x="65" y="74"/>
                </a:moveTo>
                <a:cubicBezTo>
                  <a:pt x="67" y="58"/>
                  <a:pt x="69" y="42"/>
                  <a:pt x="71" y="26"/>
                </a:cubicBezTo>
                <a:cubicBezTo>
                  <a:pt x="60" y="36"/>
                  <a:pt x="60" y="36"/>
                  <a:pt x="60" y="36"/>
                </a:cubicBezTo>
                <a:cubicBezTo>
                  <a:pt x="49" y="26"/>
                  <a:pt x="49" y="26"/>
                  <a:pt x="49" y="26"/>
                </a:cubicBezTo>
                <a:cubicBezTo>
                  <a:pt x="56" y="74"/>
                  <a:pt x="56" y="74"/>
                  <a:pt x="56" y="74"/>
                </a:cubicBezTo>
                <a:cubicBezTo>
                  <a:pt x="65" y="74"/>
                  <a:pt x="65" y="74"/>
                  <a:pt x="65" y="74"/>
                </a:cubicBezTo>
                <a:moveTo>
                  <a:pt x="36" y="80"/>
                </a:moveTo>
                <a:cubicBezTo>
                  <a:pt x="41" y="74"/>
                  <a:pt x="41" y="74"/>
                  <a:pt x="41" y="74"/>
                </a:cubicBezTo>
                <a:cubicBezTo>
                  <a:pt x="36" y="70"/>
                  <a:pt x="33" y="65"/>
                  <a:pt x="33" y="59"/>
                </a:cubicBezTo>
                <a:cubicBezTo>
                  <a:pt x="34" y="50"/>
                  <a:pt x="42" y="44"/>
                  <a:pt x="50" y="42"/>
                </a:cubicBezTo>
                <a:cubicBezTo>
                  <a:pt x="40" y="32"/>
                  <a:pt x="40" y="32"/>
                  <a:pt x="40" y="32"/>
                </a:cubicBezTo>
                <a:cubicBezTo>
                  <a:pt x="30" y="35"/>
                  <a:pt x="21" y="44"/>
                  <a:pt x="20" y="54"/>
                </a:cubicBezTo>
                <a:cubicBezTo>
                  <a:pt x="18" y="65"/>
                  <a:pt x="26" y="75"/>
                  <a:pt x="36" y="80"/>
                </a:cubicBezTo>
                <a:moveTo>
                  <a:pt x="81" y="32"/>
                </a:moveTo>
                <a:cubicBezTo>
                  <a:pt x="71" y="42"/>
                  <a:pt x="71" y="42"/>
                  <a:pt x="71" y="42"/>
                </a:cubicBezTo>
                <a:cubicBezTo>
                  <a:pt x="77" y="44"/>
                  <a:pt x="85" y="49"/>
                  <a:pt x="87" y="57"/>
                </a:cubicBezTo>
                <a:cubicBezTo>
                  <a:pt x="89" y="64"/>
                  <a:pt x="84" y="70"/>
                  <a:pt x="79" y="74"/>
                </a:cubicBezTo>
                <a:cubicBezTo>
                  <a:pt x="82" y="77"/>
                  <a:pt x="82" y="77"/>
                  <a:pt x="82" y="77"/>
                </a:cubicBezTo>
                <a:cubicBezTo>
                  <a:pt x="83" y="79"/>
                  <a:pt x="84" y="80"/>
                  <a:pt x="84" y="80"/>
                </a:cubicBezTo>
                <a:cubicBezTo>
                  <a:pt x="84" y="80"/>
                  <a:pt x="88" y="78"/>
                  <a:pt x="89" y="77"/>
                </a:cubicBezTo>
                <a:cubicBezTo>
                  <a:pt x="97" y="71"/>
                  <a:pt x="102" y="62"/>
                  <a:pt x="100" y="53"/>
                </a:cubicBezTo>
                <a:cubicBezTo>
                  <a:pt x="99" y="43"/>
                  <a:pt x="90" y="35"/>
                  <a:pt x="81" y="32"/>
                </a:cubicBezTo>
                <a:moveTo>
                  <a:pt x="35" y="81"/>
                </a:moveTo>
                <a:cubicBezTo>
                  <a:pt x="25" y="90"/>
                  <a:pt x="25" y="90"/>
                  <a:pt x="25" y="90"/>
                </a:cubicBezTo>
                <a:cubicBezTo>
                  <a:pt x="25" y="91"/>
                  <a:pt x="25" y="91"/>
                  <a:pt x="25" y="91"/>
                </a:cubicBezTo>
                <a:cubicBezTo>
                  <a:pt x="95" y="91"/>
                  <a:pt x="95" y="91"/>
                  <a:pt x="95" y="91"/>
                </a:cubicBezTo>
                <a:cubicBezTo>
                  <a:pt x="85" y="81"/>
                  <a:pt x="85" y="81"/>
                  <a:pt x="85" y="81"/>
                </a:cubicBezTo>
                <a:lnTo>
                  <a:pt x="35" y="8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de-DE" sz="1013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1927130" y="4604643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4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2032006" y="4604643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5" name="Textplatzhalter 8"/>
          <p:cNvSpPr>
            <a:spLocks noGrp="1"/>
          </p:cNvSpPr>
          <p:nvPr>
            <p:ph type="body" sz="quarter" idx="19"/>
          </p:nvPr>
        </p:nvSpPr>
        <p:spPr bwMode="gray">
          <a:xfrm>
            <a:off x="2136883" y="4604643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6" name="Textplatzhalter 8"/>
          <p:cNvSpPr>
            <a:spLocks noGrp="1"/>
          </p:cNvSpPr>
          <p:nvPr>
            <p:ph type="body" sz="quarter" idx="20"/>
          </p:nvPr>
        </p:nvSpPr>
        <p:spPr bwMode="gray">
          <a:xfrm>
            <a:off x="2241759" y="4604643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7" name="Textplatzhalter 8"/>
          <p:cNvSpPr>
            <a:spLocks noGrp="1"/>
          </p:cNvSpPr>
          <p:nvPr>
            <p:ph type="body" sz="quarter" idx="21"/>
          </p:nvPr>
        </p:nvSpPr>
        <p:spPr bwMode="gray">
          <a:xfrm>
            <a:off x="2346634" y="4604643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1390995" y="3428261"/>
            <a:ext cx="6391369" cy="318801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1500" b="1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&lt;Titel der </a:t>
            </a:r>
            <a:r>
              <a:rPr lang="de-DE" dirty="0" err="1"/>
              <a:t>präsentation</a:t>
            </a:r>
            <a:r>
              <a:rPr lang="de-DE" dirty="0"/>
              <a:t>&gt;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390996" y="4134326"/>
            <a:ext cx="6391368" cy="196979"/>
          </a:xfrm>
        </p:spPr>
        <p:txBody>
          <a:bodyPr tIns="36000"/>
          <a:lstStyle>
            <a:lvl1pPr algn="ctr">
              <a:lnSpc>
                <a:spcPct val="100000"/>
              </a:lnSpc>
              <a:spcBef>
                <a:spcPts val="0"/>
              </a:spcBef>
              <a:defRPr sz="900" b="0" baseline="0"/>
            </a:lvl1pPr>
            <a:lvl5pPr marL="270000" indent="0">
              <a:buNone/>
              <a:defRPr/>
            </a:lvl5pPr>
          </a:lstStyle>
          <a:p>
            <a:pPr lvl="0"/>
            <a:r>
              <a:rPr lang="de-DE" dirty="0"/>
              <a:t>&lt;Teilnehmer oder Verfasser&gt;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1390995" y="3806606"/>
            <a:ext cx="6391369" cy="257175"/>
          </a:xfrm>
        </p:spPr>
        <p:txBody>
          <a:bodyPr anchor="ctr"/>
          <a:lstStyle>
            <a:lvl1pPr algn="ctr">
              <a:defRPr b="0" baseline="0"/>
            </a:lvl1pPr>
          </a:lstStyle>
          <a:p>
            <a:pPr lvl="0"/>
            <a:r>
              <a:rPr lang="de-DE" dirty="0"/>
              <a:t>&lt;Untertitel&gt;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5"/>
          </p:nvPr>
        </p:nvSpPr>
        <p:spPr>
          <a:xfrm>
            <a:off x="7154214" y="4593928"/>
            <a:ext cx="637656" cy="136922"/>
          </a:xfrm>
        </p:spPr>
        <p:txBody>
          <a:bodyPr vert="horz" lIns="91440" tIns="45720" rIns="91440" bIns="45720" rtlCol="0" anchor="ctr"/>
          <a:lstStyle>
            <a:lvl1pPr>
              <a:defRPr lang="de-DE" smtClean="0">
                <a:solidFill>
                  <a:schemeClr val="tx1"/>
                </a:solidFill>
              </a:defRPr>
            </a:lvl1pPr>
          </a:lstStyle>
          <a:p>
            <a:fld id="{7A0A1A20-974B-46DF-9A8A-980D2A421C84}" type="datetime1">
              <a:rPr lang="de-DE" smtClean="0"/>
              <a:t>04.08.2022</a:t>
            </a:fld>
            <a:endParaRPr lang="de-DE" dirty="0"/>
          </a:p>
        </p:txBody>
      </p:sp>
      <p:pic>
        <p:nvPicPr>
          <p:cNvPr id="36" name="Bildplatzhalter 16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1" t="4346" r="32569" b="2636"/>
          <a:stretch/>
        </p:blipFill>
        <p:spPr bwMode="gray">
          <a:xfrm>
            <a:off x="6270073" y="588299"/>
            <a:ext cx="1512291" cy="1512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559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923539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platzhalter 1"/>
          <p:cNvSpPr txBox="1">
            <a:spLocks/>
          </p:cNvSpPr>
          <p:nvPr userDrawn="1"/>
        </p:nvSpPr>
        <p:spPr bwMode="gray">
          <a:xfrm>
            <a:off x="571575" y="283964"/>
            <a:ext cx="7998470" cy="283964"/>
          </a:xfrm>
          <a:prstGeom prst="rect">
            <a:avLst/>
          </a:prstGeom>
          <a:solidFill>
            <a:schemeClr val="accent3"/>
          </a:solidFill>
        </p:spPr>
        <p:txBody>
          <a:bodyPr vert="horz" lIns="572400" tIns="27000" rIns="57240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350" dirty="0"/>
          </a:p>
        </p:txBody>
      </p:sp>
      <p:sp>
        <p:nvSpPr>
          <p:cNvPr id="18" name="Inhaltsplatzhalter 17"/>
          <p:cNvSpPr>
            <a:spLocks noGrp="1"/>
          </p:cNvSpPr>
          <p:nvPr>
            <p:ph sz="quarter" idx="23"/>
          </p:nvPr>
        </p:nvSpPr>
        <p:spPr>
          <a:xfrm>
            <a:off x="658800" y="953689"/>
            <a:ext cx="7840800" cy="3531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 marL="135000" indent="-135000">
              <a:spcBef>
                <a:spcPts val="0"/>
              </a:spcBef>
              <a:buFont typeface="Arial" panose="020B0604020202020204" pitchFamily="34" charset="0"/>
              <a:buChar char="•"/>
              <a:defRPr/>
            </a:lvl3pPr>
            <a:lvl4pPr marL="270000" indent="-135000">
              <a:spcBef>
                <a:spcPts val="0"/>
              </a:spcBef>
              <a:buFont typeface="Arial" panose="020B0604020202020204" pitchFamily="34" charset="0"/>
              <a:buChar char="•"/>
              <a:defRPr/>
            </a:lvl4pPr>
            <a:lvl5pPr marL="405000" indent="-135000">
              <a:spcBef>
                <a:spcPts val="0"/>
              </a:spcBef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1106657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1211533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9"/>
          </p:nvPr>
        </p:nvSpPr>
        <p:spPr bwMode="gray">
          <a:xfrm>
            <a:off x="1316409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20"/>
          </p:nvPr>
        </p:nvSpPr>
        <p:spPr bwMode="gray">
          <a:xfrm>
            <a:off x="1421286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7" name="Textplatzhalter 8"/>
          <p:cNvSpPr>
            <a:spLocks noGrp="1"/>
          </p:cNvSpPr>
          <p:nvPr>
            <p:ph type="body" sz="quarter" idx="21"/>
          </p:nvPr>
        </p:nvSpPr>
        <p:spPr bwMode="gray">
          <a:xfrm>
            <a:off x="1526161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7C2B9301-DFCF-494C-A761-7ECCEC382377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&lt;Titel der Präsentation&gt; I &lt;Kürzel des Verfassers/ Referenten&gt;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6887D4EB-4CF4-4464-BEBC-974C839A04E8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2136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1259950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platzhalter 1"/>
          <p:cNvSpPr txBox="1">
            <a:spLocks/>
          </p:cNvSpPr>
          <p:nvPr userDrawn="1"/>
        </p:nvSpPr>
        <p:spPr bwMode="gray">
          <a:xfrm>
            <a:off x="571575" y="283964"/>
            <a:ext cx="7998470" cy="283964"/>
          </a:xfrm>
          <a:prstGeom prst="rect">
            <a:avLst/>
          </a:prstGeom>
          <a:solidFill>
            <a:schemeClr val="accent3"/>
          </a:solidFill>
        </p:spPr>
        <p:txBody>
          <a:bodyPr vert="horz" lIns="572400" tIns="27000" rIns="57240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35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23"/>
          </p:nvPr>
        </p:nvSpPr>
        <p:spPr>
          <a:xfrm>
            <a:off x="658800" y="953690"/>
            <a:ext cx="3704400" cy="3531600"/>
          </a:xfr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 marL="135000" indent="-135000">
              <a:buFont typeface="Arial" panose="020B0604020202020204" pitchFamily="34" charset="0"/>
              <a:buChar char="•"/>
              <a:defRPr lang="de-DE" dirty="0" smtClean="0"/>
            </a:lvl3pPr>
            <a:lvl4pPr marL="270000" indent="-135000">
              <a:buFont typeface="Arial" panose="020B0604020202020204" pitchFamily="34" charset="0"/>
              <a:buChar char="•"/>
              <a:defRPr lang="de-DE" dirty="0" smtClean="0"/>
            </a:lvl4pPr>
            <a:lvl5pPr marL="405000" indent="-135000">
              <a:buFont typeface="Arial" panose="020B0604020202020204" pitchFamily="34" charset="0"/>
              <a:buChar char="•"/>
              <a:defRPr lang="de-DE" dirty="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quarter" idx="24"/>
          </p:nvPr>
        </p:nvSpPr>
        <p:spPr>
          <a:xfrm>
            <a:off x="4788000" y="953690"/>
            <a:ext cx="3704400" cy="3531600"/>
          </a:xfrm>
        </p:spPr>
        <p:txBody>
          <a:bodyPr/>
          <a:lstStyle>
            <a:lvl3pPr marL="135000" indent="-135000">
              <a:buFont typeface="Arial" panose="020B0604020202020204" pitchFamily="34" charset="0"/>
              <a:buChar char="•"/>
              <a:defRPr/>
            </a:lvl3pPr>
            <a:lvl4pPr marL="270000" indent="-135000">
              <a:buFont typeface="Arial" panose="020B0604020202020204" pitchFamily="34" charset="0"/>
              <a:buChar char="•"/>
              <a:defRPr/>
            </a:lvl4pPr>
            <a:lvl5pPr marL="405000" indent="-1350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1106657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1211533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9"/>
          </p:nvPr>
        </p:nvSpPr>
        <p:spPr bwMode="gray">
          <a:xfrm>
            <a:off x="1316409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0"/>
          </p:nvPr>
        </p:nvSpPr>
        <p:spPr bwMode="gray">
          <a:xfrm>
            <a:off x="1421286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21"/>
          </p:nvPr>
        </p:nvSpPr>
        <p:spPr bwMode="gray">
          <a:xfrm>
            <a:off x="1526161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7C2B9301-DFCF-494C-A761-7ECCEC382377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&lt;Titel der Präsentation&gt; I &lt;Kürzel des Verfassers/ Referenten&gt;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887D4EB-4CF4-4464-BEBC-974C839A04E8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453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84411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6137807" y="953690"/>
            <a:ext cx="2352981" cy="1710916"/>
          </a:xfrm>
        </p:spPr>
        <p:txBody>
          <a:bodyPr tIns="720000" anchor="ctr"/>
          <a:lstStyle>
            <a:lvl1pPr algn="ctr">
              <a:defRPr sz="1050" b="0">
                <a:solidFill>
                  <a:schemeClr val="accent4"/>
                </a:solidFill>
              </a:defRPr>
            </a:lvl1pPr>
          </a:lstStyle>
          <a:p>
            <a:endParaRPr lang="de-DE"/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5"/>
          </p:nvPr>
        </p:nvSpPr>
        <p:spPr bwMode="gray">
          <a:xfrm>
            <a:off x="6137807" y="2774374"/>
            <a:ext cx="2352981" cy="1710916"/>
          </a:xfrm>
        </p:spPr>
        <p:txBody>
          <a:bodyPr tIns="720000" anchor="ctr"/>
          <a:lstStyle>
            <a:lvl1pPr algn="ctr">
              <a:defRPr sz="1050" b="0">
                <a:solidFill>
                  <a:schemeClr val="accent4"/>
                </a:solidFill>
              </a:defRPr>
            </a:lvl1pPr>
          </a:lstStyle>
          <a:p>
            <a:endParaRPr lang="de-DE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23"/>
          </p:nvPr>
        </p:nvSpPr>
        <p:spPr>
          <a:xfrm>
            <a:off x="658800" y="953690"/>
            <a:ext cx="5241600" cy="3531600"/>
          </a:xfrm>
        </p:spPr>
        <p:txBody>
          <a:bodyPr/>
          <a:lstStyle>
            <a:lvl3pPr marL="135000" indent="-135000">
              <a:buFont typeface="Arial" panose="020B0604020202020204" pitchFamily="34" charset="0"/>
              <a:buChar char="•"/>
              <a:defRPr/>
            </a:lvl3pPr>
            <a:lvl4pPr marL="270000" indent="-135000">
              <a:buFont typeface="Arial" panose="020B0604020202020204" pitchFamily="34" charset="0"/>
              <a:buChar char="•"/>
              <a:defRPr/>
            </a:lvl4pPr>
            <a:lvl5pPr marL="405000" indent="-1350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1106657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1211533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9"/>
          </p:nvPr>
        </p:nvSpPr>
        <p:spPr bwMode="gray">
          <a:xfrm>
            <a:off x="1316409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0"/>
          </p:nvPr>
        </p:nvSpPr>
        <p:spPr bwMode="gray">
          <a:xfrm>
            <a:off x="1421286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1"/>
          </p:nvPr>
        </p:nvSpPr>
        <p:spPr bwMode="gray">
          <a:xfrm>
            <a:off x="1526161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7C2B9301-DFCF-494C-A761-7ECCEC382377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&lt;Titel der Präsentation&gt; I &lt;Kürzel des Verfassers/ Referenten&gt;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6887D4EB-4CF4-4464-BEBC-974C839A04E8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560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947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Inhaltsplatzhalter 17"/>
          <p:cNvSpPr>
            <a:spLocks noGrp="1"/>
          </p:cNvSpPr>
          <p:nvPr>
            <p:ph sz="quarter" idx="23"/>
          </p:nvPr>
        </p:nvSpPr>
        <p:spPr>
          <a:xfrm>
            <a:off x="658800" y="1238400"/>
            <a:ext cx="7804800" cy="3253761"/>
          </a:xfrm>
        </p:spPr>
        <p:txBody>
          <a:bodyPr/>
          <a:lstStyle>
            <a:lvl3pPr marL="135000" indent="-135000">
              <a:buFont typeface="Arial" panose="020B0604020202020204" pitchFamily="34" charset="0"/>
              <a:buChar char="•"/>
              <a:defRPr/>
            </a:lvl3pPr>
            <a:lvl4pPr marL="270000" indent="-135000">
              <a:buFont typeface="Arial" panose="020B0604020202020204" pitchFamily="34" charset="0"/>
              <a:buChar char="•"/>
              <a:defRPr/>
            </a:lvl4pPr>
            <a:lvl5pPr marL="405000" indent="-1350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platzhalter 1"/>
          <p:cNvSpPr txBox="1">
            <a:spLocks/>
          </p:cNvSpPr>
          <p:nvPr userDrawn="1"/>
        </p:nvSpPr>
        <p:spPr bwMode="gray">
          <a:xfrm>
            <a:off x="576933" y="640642"/>
            <a:ext cx="7993112" cy="4408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vert="horz" lIns="572400" tIns="27000" rIns="57240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35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658800" y="640642"/>
            <a:ext cx="7804800" cy="42495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1106657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1211533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9"/>
          </p:nvPr>
        </p:nvSpPr>
        <p:spPr bwMode="gray">
          <a:xfrm>
            <a:off x="1316409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0"/>
          </p:nvPr>
        </p:nvSpPr>
        <p:spPr bwMode="gray">
          <a:xfrm>
            <a:off x="1421286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1"/>
          </p:nvPr>
        </p:nvSpPr>
        <p:spPr bwMode="gray">
          <a:xfrm>
            <a:off x="1526161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7C2B9301-DFCF-494C-A761-7ECCEC382377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&lt;Titel der Präsentation&gt; I &lt;Kürzel des Verfassers/ Referenten&gt;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887D4EB-4CF4-4464-BEBC-974C839A04E8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2166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ctio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550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Inhaltsplatzhalter 17"/>
          <p:cNvSpPr>
            <a:spLocks noGrp="1"/>
          </p:cNvSpPr>
          <p:nvPr>
            <p:ph sz="quarter" idx="23"/>
          </p:nvPr>
        </p:nvSpPr>
        <p:spPr>
          <a:xfrm>
            <a:off x="658800" y="1238402"/>
            <a:ext cx="7804800" cy="3067198"/>
          </a:xfrm>
        </p:spPr>
        <p:txBody>
          <a:bodyPr/>
          <a:lstStyle>
            <a:lvl3pPr marL="135000" indent="-135000">
              <a:buFont typeface="Arial" panose="020B0604020202020204" pitchFamily="34" charset="0"/>
              <a:buChar char="•"/>
              <a:defRPr/>
            </a:lvl3pPr>
            <a:lvl4pPr marL="270000" indent="-135000">
              <a:buFont typeface="Arial" panose="020B0604020202020204" pitchFamily="34" charset="0"/>
              <a:buChar char="•"/>
              <a:defRPr/>
            </a:lvl4pPr>
            <a:lvl5pPr marL="405000" indent="-1350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platzhalter 1"/>
          <p:cNvSpPr txBox="1">
            <a:spLocks/>
          </p:cNvSpPr>
          <p:nvPr userDrawn="1"/>
        </p:nvSpPr>
        <p:spPr bwMode="gray">
          <a:xfrm>
            <a:off x="576933" y="640642"/>
            <a:ext cx="7993112" cy="4408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vert="horz" lIns="572400" tIns="27000" rIns="57240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35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658800" y="640642"/>
            <a:ext cx="7804800" cy="42495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1106657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1211533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9"/>
          </p:nvPr>
        </p:nvSpPr>
        <p:spPr bwMode="gray">
          <a:xfrm>
            <a:off x="1316409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0"/>
          </p:nvPr>
        </p:nvSpPr>
        <p:spPr bwMode="gray">
          <a:xfrm>
            <a:off x="1421286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1"/>
          </p:nvPr>
        </p:nvSpPr>
        <p:spPr bwMode="gray">
          <a:xfrm>
            <a:off x="1526161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3" name="Rechteck 22"/>
          <p:cNvSpPr/>
          <p:nvPr userDrawn="1"/>
        </p:nvSpPr>
        <p:spPr bwMode="gray">
          <a:xfrm>
            <a:off x="571574" y="4468707"/>
            <a:ext cx="7998471" cy="14649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24" name="Inhaltsplatzhalter 7"/>
          <p:cNvSpPr>
            <a:spLocks noGrp="1"/>
          </p:cNvSpPr>
          <p:nvPr>
            <p:ph sz="quarter" idx="28" hasCustomPrompt="1"/>
          </p:nvPr>
        </p:nvSpPr>
        <p:spPr>
          <a:xfrm>
            <a:off x="658800" y="4468706"/>
            <a:ext cx="7804800" cy="146494"/>
          </a:xfrm>
        </p:spPr>
        <p:txBody>
          <a:bodyPr anchor="ctr"/>
          <a:lstStyle>
            <a:lvl1pPr>
              <a:defRPr sz="675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/ Legende: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7C2B9301-DFCF-494C-A761-7ECCEC382377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&lt;Titel der Präsentation&gt; I &lt;Kürzel des Verfassers/ Referenten&gt;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887D4EB-4CF4-4464-BEBC-974C839A04E8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734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ctio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06970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Inhaltsplatzhalter 17"/>
          <p:cNvSpPr>
            <a:spLocks noGrp="1"/>
          </p:cNvSpPr>
          <p:nvPr>
            <p:ph sz="quarter" idx="23"/>
          </p:nvPr>
        </p:nvSpPr>
        <p:spPr>
          <a:xfrm>
            <a:off x="658800" y="954000"/>
            <a:ext cx="7804800" cy="3337200"/>
          </a:xfrm>
        </p:spPr>
        <p:txBody>
          <a:bodyPr/>
          <a:lstStyle>
            <a:lvl3pPr marL="135000" indent="-135000">
              <a:buFont typeface="Arial" panose="020B0604020202020204" pitchFamily="34" charset="0"/>
              <a:buChar char="•"/>
              <a:defRPr/>
            </a:lvl3pPr>
            <a:lvl4pPr marL="270000" indent="-135000">
              <a:buFont typeface="Arial" panose="020B0604020202020204" pitchFamily="34" charset="0"/>
              <a:buChar char="•"/>
              <a:defRPr/>
            </a:lvl4pPr>
            <a:lvl5pPr marL="405000" indent="-1350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1106657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1211533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9"/>
          </p:nvPr>
        </p:nvSpPr>
        <p:spPr bwMode="gray">
          <a:xfrm>
            <a:off x="1316409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0"/>
          </p:nvPr>
        </p:nvSpPr>
        <p:spPr bwMode="gray">
          <a:xfrm>
            <a:off x="1421286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1"/>
          </p:nvPr>
        </p:nvSpPr>
        <p:spPr bwMode="gray">
          <a:xfrm>
            <a:off x="1526161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3" name="Rechteck 22"/>
          <p:cNvSpPr/>
          <p:nvPr userDrawn="1"/>
        </p:nvSpPr>
        <p:spPr bwMode="gray">
          <a:xfrm>
            <a:off x="571574" y="4468707"/>
            <a:ext cx="7998471" cy="14649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24" name="Inhaltsplatzhalter 7"/>
          <p:cNvSpPr>
            <a:spLocks noGrp="1"/>
          </p:cNvSpPr>
          <p:nvPr>
            <p:ph sz="quarter" idx="28" hasCustomPrompt="1"/>
          </p:nvPr>
        </p:nvSpPr>
        <p:spPr>
          <a:xfrm>
            <a:off x="658800" y="4468706"/>
            <a:ext cx="7804800" cy="146494"/>
          </a:xfrm>
        </p:spPr>
        <p:txBody>
          <a:bodyPr anchor="ctr"/>
          <a:lstStyle>
            <a:lvl1pPr>
              <a:defRPr sz="675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/ Legende: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7C2B9301-DFCF-494C-A761-7ECCEC382377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&lt;Titel der Präsentation&gt; I &lt;Kürzel des Verfassers/ Referenten&gt;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887D4EB-4CF4-4464-BEBC-974C839A04E8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940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lassifiz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01502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16" name="Objek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platzhalter 1"/>
          <p:cNvSpPr txBox="1">
            <a:spLocks/>
          </p:cNvSpPr>
          <p:nvPr userDrawn="1"/>
        </p:nvSpPr>
        <p:spPr bwMode="gray">
          <a:xfrm>
            <a:off x="571575" y="283964"/>
            <a:ext cx="7998470" cy="283964"/>
          </a:xfrm>
          <a:prstGeom prst="rect">
            <a:avLst/>
          </a:prstGeom>
          <a:solidFill>
            <a:schemeClr val="accent3"/>
          </a:solidFill>
        </p:spPr>
        <p:txBody>
          <a:bodyPr vert="horz" lIns="572400" tIns="27000" rIns="57240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/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1106657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1211533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9"/>
          </p:nvPr>
        </p:nvSpPr>
        <p:spPr bwMode="gray">
          <a:xfrm>
            <a:off x="1316409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20"/>
          </p:nvPr>
        </p:nvSpPr>
        <p:spPr bwMode="gray">
          <a:xfrm>
            <a:off x="1421286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7" name="Textplatzhalter 8"/>
          <p:cNvSpPr>
            <a:spLocks noGrp="1"/>
          </p:cNvSpPr>
          <p:nvPr>
            <p:ph type="body" sz="quarter" idx="21"/>
          </p:nvPr>
        </p:nvSpPr>
        <p:spPr bwMode="gray">
          <a:xfrm>
            <a:off x="1526161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4" name="Inhaltsplatzhalter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257941" y="953692"/>
            <a:ext cx="6615019" cy="3545681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 bwMode="gray">
          <a:xfrm>
            <a:off x="571575" y="283964"/>
            <a:ext cx="7991480" cy="2839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dirty="0" err="1"/>
          </a:p>
        </p:txBody>
      </p:sp>
      <p:sp>
        <p:nvSpPr>
          <p:cNvPr id="28" name="Titel 1"/>
          <p:cNvSpPr txBox="1">
            <a:spLocks/>
          </p:cNvSpPr>
          <p:nvPr userDrawn="1"/>
        </p:nvSpPr>
        <p:spPr bwMode="gray">
          <a:xfrm>
            <a:off x="578329" y="282984"/>
            <a:ext cx="7995211" cy="276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35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Klassifizierung/Steuerung von vertraulichen Information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7C2B9301-DFCF-494C-A761-7ECCEC382377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&lt;Titel der Präsentation&gt; I &lt;Kürzel des Verfassers/ Referenten&gt;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887D4EB-4CF4-4464-BEBC-974C839A04E8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8957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184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1106657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1211533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9"/>
          </p:nvPr>
        </p:nvSpPr>
        <p:spPr bwMode="gray">
          <a:xfrm>
            <a:off x="1316409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20"/>
          </p:nvPr>
        </p:nvSpPr>
        <p:spPr bwMode="gray">
          <a:xfrm>
            <a:off x="1421286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1"/>
          </p:nvPr>
        </p:nvSpPr>
        <p:spPr bwMode="gray">
          <a:xfrm>
            <a:off x="1526161" y="4922240"/>
            <a:ext cx="54007" cy="5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0">
                <a:noFill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7C2B9301-DFCF-494C-A761-7ECCEC382377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&lt;Titel der Präsentation&gt; I &lt;Kürzel des Verfassers/ Referenten&gt;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887D4EB-4CF4-4464-BEBC-974C839A04E8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954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gi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22267381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3" imgW="359" imgH="358" progId="TCLayout.ActiveDocument.1">
                  <p:embed/>
                </p:oleObj>
              </mc:Choice>
              <mc:Fallback>
                <p:oleObj name="think-cell Folie" r:id="rId13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elplatzhalter 1"/>
          <p:cNvSpPr txBox="1">
            <a:spLocks/>
          </p:cNvSpPr>
          <p:nvPr userDrawn="1"/>
        </p:nvSpPr>
        <p:spPr bwMode="gray">
          <a:xfrm>
            <a:off x="571574" y="283964"/>
            <a:ext cx="8018277" cy="283964"/>
          </a:xfrm>
          <a:prstGeom prst="rect">
            <a:avLst/>
          </a:prstGeom>
          <a:solidFill>
            <a:schemeClr val="accent3"/>
          </a:solidFill>
        </p:spPr>
        <p:txBody>
          <a:bodyPr vert="horz" lIns="572400" tIns="27000" rIns="57240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350" dirty="0"/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571574" y="4727294"/>
            <a:ext cx="7861287" cy="1381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11" name="Ellipse 10"/>
          <p:cNvSpPr/>
          <p:nvPr/>
        </p:nvSpPr>
        <p:spPr bwMode="gray">
          <a:xfrm>
            <a:off x="8311911" y="4657440"/>
            <a:ext cx="277940" cy="27790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13" name="Freeform 8"/>
          <p:cNvSpPr>
            <a:spLocks noEditPoints="1"/>
          </p:cNvSpPr>
          <p:nvPr userDrawn="1"/>
        </p:nvSpPr>
        <p:spPr bwMode="gray">
          <a:xfrm>
            <a:off x="8329931" y="4675458"/>
            <a:ext cx="242755" cy="241868"/>
          </a:xfrm>
          <a:custGeom>
            <a:avLst/>
            <a:gdLst>
              <a:gd name="T0" fmla="*/ 120 w 120"/>
              <a:gd name="T1" fmla="*/ 60 h 120"/>
              <a:gd name="T2" fmla="*/ 60 w 120"/>
              <a:gd name="T3" fmla="*/ 120 h 120"/>
              <a:gd name="T4" fmla="*/ 0 w 120"/>
              <a:gd name="T5" fmla="*/ 60 h 120"/>
              <a:gd name="T6" fmla="*/ 60 w 120"/>
              <a:gd name="T7" fmla="*/ 0 h 120"/>
              <a:gd name="T8" fmla="*/ 120 w 120"/>
              <a:gd name="T9" fmla="*/ 60 h 120"/>
              <a:gd name="T10" fmla="*/ 65 w 120"/>
              <a:gd name="T11" fmla="*/ 74 h 120"/>
              <a:gd name="T12" fmla="*/ 71 w 120"/>
              <a:gd name="T13" fmla="*/ 26 h 120"/>
              <a:gd name="T14" fmla="*/ 60 w 120"/>
              <a:gd name="T15" fmla="*/ 36 h 120"/>
              <a:gd name="T16" fmla="*/ 49 w 120"/>
              <a:gd name="T17" fmla="*/ 26 h 120"/>
              <a:gd name="T18" fmla="*/ 56 w 120"/>
              <a:gd name="T19" fmla="*/ 74 h 120"/>
              <a:gd name="T20" fmla="*/ 65 w 120"/>
              <a:gd name="T21" fmla="*/ 74 h 120"/>
              <a:gd name="T22" fmla="*/ 36 w 120"/>
              <a:gd name="T23" fmla="*/ 80 h 120"/>
              <a:gd name="T24" fmla="*/ 41 w 120"/>
              <a:gd name="T25" fmla="*/ 74 h 120"/>
              <a:gd name="T26" fmla="*/ 33 w 120"/>
              <a:gd name="T27" fmla="*/ 59 h 120"/>
              <a:gd name="T28" fmla="*/ 50 w 120"/>
              <a:gd name="T29" fmla="*/ 42 h 120"/>
              <a:gd name="T30" fmla="*/ 40 w 120"/>
              <a:gd name="T31" fmla="*/ 32 h 120"/>
              <a:gd name="T32" fmla="*/ 20 w 120"/>
              <a:gd name="T33" fmla="*/ 54 h 120"/>
              <a:gd name="T34" fmla="*/ 36 w 120"/>
              <a:gd name="T35" fmla="*/ 80 h 120"/>
              <a:gd name="T36" fmla="*/ 81 w 120"/>
              <a:gd name="T37" fmla="*/ 32 h 120"/>
              <a:gd name="T38" fmla="*/ 71 w 120"/>
              <a:gd name="T39" fmla="*/ 42 h 120"/>
              <a:gd name="T40" fmla="*/ 87 w 120"/>
              <a:gd name="T41" fmla="*/ 57 h 120"/>
              <a:gd name="T42" fmla="*/ 79 w 120"/>
              <a:gd name="T43" fmla="*/ 74 h 120"/>
              <a:gd name="T44" fmla="*/ 82 w 120"/>
              <a:gd name="T45" fmla="*/ 77 h 120"/>
              <a:gd name="T46" fmla="*/ 84 w 120"/>
              <a:gd name="T47" fmla="*/ 80 h 120"/>
              <a:gd name="T48" fmla="*/ 89 w 120"/>
              <a:gd name="T49" fmla="*/ 77 h 120"/>
              <a:gd name="T50" fmla="*/ 100 w 120"/>
              <a:gd name="T51" fmla="*/ 53 h 120"/>
              <a:gd name="T52" fmla="*/ 81 w 120"/>
              <a:gd name="T53" fmla="*/ 32 h 120"/>
              <a:gd name="T54" fmla="*/ 35 w 120"/>
              <a:gd name="T55" fmla="*/ 81 h 120"/>
              <a:gd name="T56" fmla="*/ 25 w 120"/>
              <a:gd name="T57" fmla="*/ 90 h 120"/>
              <a:gd name="T58" fmla="*/ 25 w 120"/>
              <a:gd name="T59" fmla="*/ 91 h 120"/>
              <a:gd name="T60" fmla="*/ 95 w 120"/>
              <a:gd name="T61" fmla="*/ 91 h 120"/>
              <a:gd name="T62" fmla="*/ 85 w 120"/>
              <a:gd name="T63" fmla="*/ 81 h 120"/>
              <a:gd name="T64" fmla="*/ 35 w 120"/>
              <a:gd name="T65" fmla="*/ 81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0" h="120">
                <a:moveTo>
                  <a:pt x="120" y="60"/>
                </a:moveTo>
                <a:cubicBezTo>
                  <a:pt x="120" y="93"/>
                  <a:pt x="93" y="120"/>
                  <a:pt x="60" y="120"/>
                </a:cubicBezTo>
                <a:cubicBezTo>
                  <a:pt x="27" y="120"/>
                  <a:pt x="0" y="93"/>
                  <a:pt x="0" y="60"/>
                </a:cubicBezTo>
                <a:cubicBezTo>
                  <a:pt x="0" y="27"/>
                  <a:pt x="27" y="0"/>
                  <a:pt x="60" y="0"/>
                </a:cubicBezTo>
                <a:cubicBezTo>
                  <a:pt x="93" y="0"/>
                  <a:pt x="120" y="27"/>
                  <a:pt x="120" y="60"/>
                </a:cubicBezTo>
                <a:moveTo>
                  <a:pt x="65" y="74"/>
                </a:moveTo>
                <a:cubicBezTo>
                  <a:pt x="67" y="58"/>
                  <a:pt x="69" y="42"/>
                  <a:pt x="71" y="26"/>
                </a:cubicBezTo>
                <a:cubicBezTo>
                  <a:pt x="60" y="36"/>
                  <a:pt x="60" y="36"/>
                  <a:pt x="60" y="36"/>
                </a:cubicBezTo>
                <a:cubicBezTo>
                  <a:pt x="49" y="26"/>
                  <a:pt x="49" y="26"/>
                  <a:pt x="49" y="26"/>
                </a:cubicBezTo>
                <a:cubicBezTo>
                  <a:pt x="56" y="74"/>
                  <a:pt x="56" y="74"/>
                  <a:pt x="56" y="74"/>
                </a:cubicBezTo>
                <a:cubicBezTo>
                  <a:pt x="65" y="74"/>
                  <a:pt x="65" y="74"/>
                  <a:pt x="65" y="74"/>
                </a:cubicBezTo>
                <a:moveTo>
                  <a:pt x="36" y="80"/>
                </a:moveTo>
                <a:cubicBezTo>
                  <a:pt x="41" y="74"/>
                  <a:pt x="41" y="74"/>
                  <a:pt x="41" y="74"/>
                </a:cubicBezTo>
                <a:cubicBezTo>
                  <a:pt x="36" y="70"/>
                  <a:pt x="33" y="65"/>
                  <a:pt x="33" y="59"/>
                </a:cubicBezTo>
                <a:cubicBezTo>
                  <a:pt x="34" y="50"/>
                  <a:pt x="42" y="44"/>
                  <a:pt x="50" y="42"/>
                </a:cubicBezTo>
                <a:cubicBezTo>
                  <a:pt x="40" y="32"/>
                  <a:pt x="40" y="32"/>
                  <a:pt x="40" y="32"/>
                </a:cubicBezTo>
                <a:cubicBezTo>
                  <a:pt x="30" y="35"/>
                  <a:pt x="21" y="44"/>
                  <a:pt x="20" y="54"/>
                </a:cubicBezTo>
                <a:cubicBezTo>
                  <a:pt x="18" y="65"/>
                  <a:pt x="26" y="75"/>
                  <a:pt x="36" y="80"/>
                </a:cubicBezTo>
                <a:moveTo>
                  <a:pt x="81" y="32"/>
                </a:moveTo>
                <a:cubicBezTo>
                  <a:pt x="71" y="42"/>
                  <a:pt x="71" y="42"/>
                  <a:pt x="71" y="42"/>
                </a:cubicBezTo>
                <a:cubicBezTo>
                  <a:pt x="77" y="44"/>
                  <a:pt x="85" y="49"/>
                  <a:pt x="87" y="57"/>
                </a:cubicBezTo>
                <a:cubicBezTo>
                  <a:pt x="89" y="64"/>
                  <a:pt x="84" y="70"/>
                  <a:pt x="79" y="74"/>
                </a:cubicBezTo>
                <a:cubicBezTo>
                  <a:pt x="82" y="77"/>
                  <a:pt x="82" y="77"/>
                  <a:pt x="82" y="77"/>
                </a:cubicBezTo>
                <a:cubicBezTo>
                  <a:pt x="83" y="79"/>
                  <a:pt x="84" y="80"/>
                  <a:pt x="84" y="80"/>
                </a:cubicBezTo>
                <a:cubicBezTo>
                  <a:pt x="84" y="80"/>
                  <a:pt x="88" y="78"/>
                  <a:pt x="89" y="77"/>
                </a:cubicBezTo>
                <a:cubicBezTo>
                  <a:pt x="97" y="71"/>
                  <a:pt x="102" y="62"/>
                  <a:pt x="100" y="53"/>
                </a:cubicBezTo>
                <a:cubicBezTo>
                  <a:pt x="99" y="43"/>
                  <a:pt x="90" y="35"/>
                  <a:pt x="81" y="32"/>
                </a:cubicBezTo>
                <a:moveTo>
                  <a:pt x="35" y="81"/>
                </a:moveTo>
                <a:cubicBezTo>
                  <a:pt x="25" y="90"/>
                  <a:pt x="25" y="90"/>
                  <a:pt x="25" y="90"/>
                </a:cubicBezTo>
                <a:cubicBezTo>
                  <a:pt x="25" y="91"/>
                  <a:pt x="25" y="91"/>
                  <a:pt x="25" y="91"/>
                </a:cubicBezTo>
                <a:cubicBezTo>
                  <a:pt x="95" y="91"/>
                  <a:pt x="95" y="91"/>
                  <a:pt x="95" y="91"/>
                </a:cubicBezTo>
                <a:cubicBezTo>
                  <a:pt x="85" y="81"/>
                  <a:pt x="85" y="81"/>
                  <a:pt x="85" y="81"/>
                </a:cubicBezTo>
                <a:lnTo>
                  <a:pt x="35" y="8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de-DE" sz="1013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6823" y="953690"/>
            <a:ext cx="7840800" cy="353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24" name="Fußzeilenplatzhalter 4"/>
          <p:cNvSpPr txBox="1">
            <a:spLocks/>
          </p:cNvSpPr>
          <p:nvPr userDrawn="1"/>
        </p:nvSpPr>
        <p:spPr bwMode="gray">
          <a:xfrm>
            <a:off x="5730034" y="4727977"/>
            <a:ext cx="1564685" cy="13751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175" indent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3175" indent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de-DE" sz="675" dirty="0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4"/>
          </p:nvPr>
        </p:nvSpPr>
        <p:spPr>
          <a:xfrm>
            <a:off x="7955776" y="4726104"/>
            <a:ext cx="374155" cy="1393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bg1"/>
                </a:solidFill>
              </a:defRPr>
            </a:lvl1pPr>
          </a:lstStyle>
          <a:p>
            <a:fld id="{6887D4EB-4CF4-4464-BEBC-974C839A04E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28" name="Datumsplatzhalter 27"/>
          <p:cNvSpPr>
            <a:spLocks noGrp="1"/>
          </p:cNvSpPr>
          <p:nvPr>
            <p:ph type="dt" sz="half" idx="2"/>
          </p:nvPr>
        </p:nvSpPr>
        <p:spPr>
          <a:xfrm>
            <a:off x="7424670" y="4728568"/>
            <a:ext cx="634211" cy="1369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bg1"/>
                </a:solidFill>
              </a:defRPr>
            </a:lvl1pPr>
          </a:lstStyle>
          <a:p>
            <a:fld id="{7C2B9301-DFCF-494C-A761-7ECCEC382377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29" name="Fußzeilenplatzhalter 28"/>
          <p:cNvSpPr>
            <a:spLocks noGrp="1"/>
          </p:cNvSpPr>
          <p:nvPr>
            <p:ph type="ftr" sz="quarter" idx="3"/>
          </p:nvPr>
        </p:nvSpPr>
        <p:spPr>
          <a:xfrm>
            <a:off x="575577" y="4722129"/>
            <a:ext cx="4641166" cy="1449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&lt;Titel der Präsentation&gt; I &lt;Kürzel des Verfassers/ Referenten&gt;</a:t>
            </a:r>
          </a:p>
        </p:txBody>
      </p:sp>
      <p:sp>
        <p:nvSpPr>
          <p:cNvPr id="35" name="Textplatzhalter 63"/>
          <p:cNvSpPr txBox="1">
            <a:spLocks noChangeAspect="1"/>
          </p:cNvSpPr>
          <p:nvPr userDrawn="1"/>
        </p:nvSpPr>
        <p:spPr bwMode="gray">
          <a:xfrm>
            <a:off x="571575" y="4917325"/>
            <a:ext cx="477962" cy="64153"/>
          </a:xfrm>
          <a:custGeom>
            <a:avLst/>
            <a:gdLst>
              <a:gd name="connsiteX0" fmla="*/ 1175891 w 1679675"/>
              <a:gd name="connsiteY0" fmla="*/ 142578 h 225475"/>
              <a:gd name="connsiteX1" fmla="*/ 1132136 w 1679675"/>
              <a:gd name="connsiteY1" fmla="*/ 152698 h 225475"/>
              <a:gd name="connsiteX2" fmla="*/ 1108770 w 1679675"/>
              <a:gd name="connsiteY2" fmla="*/ 158056 h 225475"/>
              <a:gd name="connsiteX3" fmla="*/ 1098203 w 1679675"/>
              <a:gd name="connsiteY3" fmla="*/ 166762 h 225475"/>
              <a:gd name="connsiteX4" fmla="*/ 1094482 w 1679675"/>
              <a:gd name="connsiteY4" fmla="*/ 179487 h 225475"/>
              <a:gd name="connsiteX5" fmla="*/ 1102593 w 1679675"/>
              <a:gd name="connsiteY5" fmla="*/ 197346 h 225475"/>
              <a:gd name="connsiteX6" fmla="*/ 1126332 w 1679675"/>
              <a:gd name="connsiteY6" fmla="*/ 204490 h 225475"/>
              <a:gd name="connsiteX7" fmla="*/ 1153865 w 1679675"/>
              <a:gd name="connsiteY7" fmla="*/ 197718 h 225475"/>
              <a:gd name="connsiteX8" fmla="*/ 1171575 w 1679675"/>
              <a:gd name="connsiteY8" fmla="*/ 179189 h 225475"/>
              <a:gd name="connsiteX9" fmla="*/ 1175891 w 1679675"/>
              <a:gd name="connsiteY9" fmla="*/ 152400 h 225475"/>
              <a:gd name="connsiteX10" fmla="*/ 328166 w 1679675"/>
              <a:gd name="connsiteY10" fmla="*/ 142578 h 225475"/>
              <a:gd name="connsiteX11" fmla="*/ 284411 w 1679675"/>
              <a:gd name="connsiteY11" fmla="*/ 152698 h 225475"/>
              <a:gd name="connsiteX12" fmla="*/ 261045 w 1679675"/>
              <a:gd name="connsiteY12" fmla="*/ 158056 h 225475"/>
              <a:gd name="connsiteX13" fmla="*/ 250478 w 1679675"/>
              <a:gd name="connsiteY13" fmla="*/ 166762 h 225475"/>
              <a:gd name="connsiteX14" fmla="*/ 246757 w 1679675"/>
              <a:gd name="connsiteY14" fmla="*/ 179487 h 225475"/>
              <a:gd name="connsiteX15" fmla="*/ 254868 w 1679675"/>
              <a:gd name="connsiteY15" fmla="*/ 197346 h 225475"/>
              <a:gd name="connsiteX16" fmla="*/ 278607 w 1679675"/>
              <a:gd name="connsiteY16" fmla="*/ 204490 h 225475"/>
              <a:gd name="connsiteX17" fmla="*/ 306140 w 1679675"/>
              <a:gd name="connsiteY17" fmla="*/ 197718 h 225475"/>
              <a:gd name="connsiteX18" fmla="*/ 323850 w 1679675"/>
              <a:gd name="connsiteY18" fmla="*/ 179189 h 225475"/>
              <a:gd name="connsiteX19" fmla="*/ 328166 w 1679675"/>
              <a:gd name="connsiteY19" fmla="*/ 152400 h 225475"/>
              <a:gd name="connsiteX20" fmla="*/ 1453456 w 1679675"/>
              <a:gd name="connsiteY20" fmla="*/ 82451 h 225475"/>
              <a:gd name="connsiteX21" fmla="*/ 1420118 w 1679675"/>
              <a:gd name="connsiteY21" fmla="*/ 97483 h 225475"/>
              <a:gd name="connsiteX22" fmla="*/ 1406873 w 1679675"/>
              <a:gd name="connsiteY22" fmla="*/ 142875 h 225475"/>
              <a:gd name="connsiteX23" fmla="*/ 1420118 w 1679675"/>
              <a:gd name="connsiteY23" fmla="*/ 188342 h 225475"/>
              <a:gd name="connsiteX24" fmla="*/ 1453456 w 1679675"/>
              <a:gd name="connsiteY24" fmla="*/ 203448 h 225475"/>
              <a:gd name="connsiteX25" fmla="*/ 1486644 w 1679675"/>
              <a:gd name="connsiteY25" fmla="*/ 188268 h 225475"/>
              <a:gd name="connsiteX26" fmla="*/ 1499890 w 1679675"/>
              <a:gd name="connsiteY26" fmla="*/ 141982 h 225475"/>
              <a:gd name="connsiteX27" fmla="*/ 1486570 w 1679675"/>
              <a:gd name="connsiteY27" fmla="*/ 97557 h 225475"/>
              <a:gd name="connsiteX28" fmla="*/ 1453456 w 1679675"/>
              <a:gd name="connsiteY28" fmla="*/ 82451 h 225475"/>
              <a:gd name="connsiteX29" fmla="*/ 1322785 w 1679675"/>
              <a:gd name="connsiteY29" fmla="*/ 63848 h 225475"/>
              <a:gd name="connsiteX30" fmla="*/ 1349574 w 1679675"/>
              <a:gd name="connsiteY30" fmla="*/ 63848 h 225475"/>
              <a:gd name="connsiteX31" fmla="*/ 1349574 w 1679675"/>
              <a:gd name="connsiteY31" fmla="*/ 221903 h 225475"/>
              <a:gd name="connsiteX32" fmla="*/ 1322785 w 1679675"/>
              <a:gd name="connsiteY32" fmla="*/ 221903 h 225475"/>
              <a:gd name="connsiteX33" fmla="*/ 856060 w 1679675"/>
              <a:gd name="connsiteY33" fmla="*/ 63848 h 225475"/>
              <a:gd name="connsiteX34" fmla="*/ 882849 w 1679675"/>
              <a:gd name="connsiteY34" fmla="*/ 63848 h 225475"/>
              <a:gd name="connsiteX35" fmla="*/ 882849 w 1679675"/>
              <a:gd name="connsiteY35" fmla="*/ 221903 h 225475"/>
              <a:gd name="connsiteX36" fmla="*/ 856060 w 1679675"/>
              <a:gd name="connsiteY36" fmla="*/ 221903 h 225475"/>
              <a:gd name="connsiteX37" fmla="*/ 694135 w 1679675"/>
              <a:gd name="connsiteY37" fmla="*/ 63848 h 225475"/>
              <a:gd name="connsiteX38" fmla="*/ 720924 w 1679675"/>
              <a:gd name="connsiteY38" fmla="*/ 63848 h 225475"/>
              <a:gd name="connsiteX39" fmla="*/ 720924 w 1679675"/>
              <a:gd name="connsiteY39" fmla="*/ 221903 h 225475"/>
              <a:gd name="connsiteX40" fmla="*/ 694135 w 1679675"/>
              <a:gd name="connsiteY40" fmla="*/ 221903 h 225475"/>
              <a:gd name="connsiteX41" fmla="*/ 1625650 w 1679675"/>
              <a:gd name="connsiteY41" fmla="*/ 60276 h 225475"/>
              <a:gd name="connsiteX42" fmla="*/ 1651918 w 1679675"/>
              <a:gd name="connsiteY42" fmla="*/ 65410 h 225475"/>
              <a:gd name="connsiteX43" fmla="*/ 1669852 w 1679675"/>
              <a:gd name="connsiteY43" fmla="*/ 78879 h 225475"/>
              <a:gd name="connsiteX44" fmla="*/ 1678186 w 1679675"/>
              <a:gd name="connsiteY44" fmla="*/ 98673 h 225475"/>
              <a:gd name="connsiteX45" fmla="*/ 1679675 w 1679675"/>
              <a:gd name="connsiteY45" fmla="*/ 124718 h 225475"/>
              <a:gd name="connsiteX46" fmla="*/ 1679675 w 1679675"/>
              <a:gd name="connsiteY46" fmla="*/ 221903 h 225475"/>
              <a:gd name="connsiteX47" fmla="*/ 1652885 w 1679675"/>
              <a:gd name="connsiteY47" fmla="*/ 221903 h 225475"/>
              <a:gd name="connsiteX48" fmla="*/ 1652885 w 1679675"/>
              <a:gd name="connsiteY48" fmla="*/ 125760 h 225475"/>
              <a:gd name="connsiteX49" fmla="*/ 1649760 w 1679675"/>
              <a:gd name="connsiteY49" fmla="*/ 101278 h 225475"/>
              <a:gd name="connsiteX50" fmla="*/ 1638672 w 1679675"/>
              <a:gd name="connsiteY50" fmla="*/ 88330 h 225475"/>
              <a:gd name="connsiteX51" fmla="*/ 1619994 w 1679675"/>
              <a:gd name="connsiteY51" fmla="*/ 83493 h 225475"/>
              <a:gd name="connsiteX52" fmla="*/ 1590452 w 1679675"/>
              <a:gd name="connsiteY52" fmla="*/ 94357 h 225475"/>
              <a:gd name="connsiteX53" fmla="*/ 1578025 w 1679675"/>
              <a:gd name="connsiteY53" fmla="*/ 135583 h 225475"/>
              <a:gd name="connsiteX54" fmla="*/ 1578025 w 1679675"/>
              <a:gd name="connsiteY54" fmla="*/ 221903 h 225475"/>
              <a:gd name="connsiteX55" fmla="*/ 1551236 w 1679675"/>
              <a:gd name="connsiteY55" fmla="*/ 221903 h 225475"/>
              <a:gd name="connsiteX56" fmla="*/ 1551236 w 1679675"/>
              <a:gd name="connsiteY56" fmla="*/ 63848 h 225475"/>
              <a:gd name="connsiteX57" fmla="*/ 1575346 w 1679675"/>
              <a:gd name="connsiteY57" fmla="*/ 63848 h 225475"/>
              <a:gd name="connsiteX58" fmla="*/ 1575346 w 1679675"/>
              <a:gd name="connsiteY58" fmla="*/ 86321 h 225475"/>
              <a:gd name="connsiteX59" fmla="*/ 1625650 w 1679675"/>
              <a:gd name="connsiteY59" fmla="*/ 60276 h 225475"/>
              <a:gd name="connsiteX60" fmla="*/ 1453456 w 1679675"/>
              <a:gd name="connsiteY60" fmla="*/ 60276 h 225475"/>
              <a:gd name="connsiteX61" fmla="*/ 1506736 w 1679675"/>
              <a:gd name="connsiteY61" fmla="*/ 81633 h 225475"/>
              <a:gd name="connsiteX62" fmla="*/ 1527423 w 1679675"/>
              <a:gd name="connsiteY62" fmla="*/ 140643 h 225475"/>
              <a:gd name="connsiteX63" fmla="*/ 1518270 w 1679675"/>
              <a:gd name="connsiteY63" fmla="*/ 188640 h 225475"/>
              <a:gd name="connsiteX64" fmla="*/ 1491630 w 1679675"/>
              <a:gd name="connsiteY64" fmla="*/ 215801 h 225475"/>
              <a:gd name="connsiteX65" fmla="*/ 1453456 w 1679675"/>
              <a:gd name="connsiteY65" fmla="*/ 225475 h 225475"/>
              <a:gd name="connsiteX66" fmla="*/ 1399803 w 1679675"/>
              <a:gd name="connsiteY66" fmla="*/ 204192 h 225475"/>
              <a:gd name="connsiteX67" fmla="*/ 1379339 w 1679675"/>
              <a:gd name="connsiteY67" fmla="*/ 142875 h 225475"/>
              <a:gd name="connsiteX68" fmla="*/ 1403747 w 1679675"/>
              <a:gd name="connsiteY68" fmla="*/ 77837 h 225475"/>
              <a:gd name="connsiteX69" fmla="*/ 1453456 w 1679675"/>
              <a:gd name="connsiteY69" fmla="*/ 60276 h 225475"/>
              <a:gd name="connsiteX70" fmla="*/ 1141810 w 1679675"/>
              <a:gd name="connsiteY70" fmla="*/ 60276 h 225475"/>
              <a:gd name="connsiteX71" fmla="*/ 1174701 w 1679675"/>
              <a:gd name="connsiteY71" fmla="*/ 65038 h 225475"/>
              <a:gd name="connsiteX72" fmla="*/ 1193304 w 1679675"/>
              <a:gd name="connsiteY72" fmla="*/ 77019 h 225475"/>
              <a:gd name="connsiteX73" fmla="*/ 1201639 w 1679675"/>
              <a:gd name="connsiteY73" fmla="*/ 95250 h 225475"/>
              <a:gd name="connsiteX74" fmla="*/ 1202978 w 1679675"/>
              <a:gd name="connsiteY74" fmla="*/ 119956 h 225475"/>
              <a:gd name="connsiteX75" fmla="*/ 1202978 w 1679675"/>
              <a:gd name="connsiteY75" fmla="*/ 155674 h 225475"/>
              <a:gd name="connsiteX76" fmla="*/ 1204690 w 1679675"/>
              <a:gd name="connsiteY76" fmla="*/ 202927 h 225475"/>
              <a:gd name="connsiteX77" fmla="*/ 1211461 w 1679675"/>
              <a:gd name="connsiteY77" fmla="*/ 221903 h 225475"/>
              <a:gd name="connsiteX78" fmla="*/ 1183482 w 1679675"/>
              <a:gd name="connsiteY78" fmla="*/ 221903 h 225475"/>
              <a:gd name="connsiteX79" fmla="*/ 1178124 w 1679675"/>
              <a:gd name="connsiteY79" fmla="*/ 202407 h 225475"/>
              <a:gd name="connsiteX80" fmla="*/ 1149474 w 1679675"/>
              <a:gd name="connsiteY80" fmla="*/ 220266 h 225475"/>
              <a:gd name="connsiteX81" fmla="*/ 1119932 w 1679675"/>
              <a:gd name="connsiteY81" fmla="*/ 225475 h 225475"/>
              <a:gd name="connsiteX82" fmla="*/ 1079897 w 1679675"/>
              <a:gd name="connsiteY82" fmla="*/ 212750 h 225475"/>
              <a:gd name="connsiteX83" fmla="*/ 1065907 w 1679675"/>
              <a:gd name="connsiteY83" fmla="*/ 180231 h 225475"/>
              <a:gd name="connsiteX84" fmla="*/ 1071191 w 1679675"/>
              <a:gd name="connsiteY84" fmla="*/ 159023 h 225475"/>
              <a:gd name="connsiteX85" fmla="*/ 1085032 w 1679675"/>
              <a:gd name="connsiteY85" fmla="*/ 143619 h 225475"/>
              <a:gd name="connsiteX86" fmla="*/ 1104305 w 1679675"/>
              <a:gd name="connsiteY86" fmla="*/ 134839 h 225475"/>
              <a:gd name="connsiteX87" fmla="*/ 1128118 w 1679675"/>
              <a:gd name="connsiteY87" fmla="*/ 130820 h 225475"/>
              <a:gd name="connsiteX88" fmla="*/ 1175891 w 1679675"/>
              <a:gd name="connsiteY88" fmla="*/ 121593 h 225475"/>
              <a:gd name="connsiteX89" fmla="*/ 1176040 w 1679675"/>
              <a:gd name="connsiteY89" fmla="*/ 114598 h 225475"/>
              <a:gd name="connsiteX90" fmla="*/ 1168450 w 1679675"/>
              <a:gd name="connsiteY90" fmla="*/ 91530 h 225475"/>
              <a:gd name="connsiteX91" fmla="*/ 1137940 w 1679675"/>
              <a:gd name="connsiteY91" fmla="*/ 82451 h 225475"/>
              <a:gd name="connsiteX92" fmla="*/ 1110035 w 1679675"/>
              <a:gd name="connsiteY92" fmla="*/ 89074 h 225475"/>
              <a:gd name="connsiteX93" fmla="*/ 1096715 w 1679675"/>
              <a:gd name="connsiteY93" fmla="*/ 112514 h 225475"/>
              <a:gd name="connsiteX94" fmla="*/ 1070521 w 1679675"/>
              <a:gd name="connsiteY94" fmla="*/ 108942 h 225475"/>
              <a:gd name="connsiteX95" fmla="*/ 1082278 w 1679675"/>
              <a:gd name="connsiteY95" fmla="*/ 81781 h 225475"/>
              <a:gd name="connsiteX96" fmla="*/ 1105942 w 1679675"/>
              <a:gd name="connsiteY96" fmla="*/ 65857 h 225475"/>
              <a:gd name="connsiteX97" fmla="*/ 1141810 w 1679675"/>
              <a:gd name="connsiteY97" fmla="*/ 60276 h 225475"/>
              <a:gd name="connsiteX98" fmla="*/ 986433 w 1679675"/>
              <a:gd name="connsiteY98" fmla="*/ 60276 h 225475"/>
              <a:gd name="connsiteX99" fmla="*/ 1028552 w 1679675"/>
              <a:gd name="connsiteY99" fmla="*/ 73298 h 225475"/>
              <a:gd name="connsiteX100" fmla="*/ 1049536 w 1679675"/>
              <a:gd name="connsiteY100" fmla="*/ 110282 h 225475"/>
              <a:gd name="connsiteX101" fmla="*/ 1023491 w 1679675"/>
              <a:gd name="connsiteY101" fmla="*/ 114300 h 225475"/>
              <a:gd name="connsiteX102" fmla="*/ 1010320 w 1679675"/>
              <a:gd name="connsiteY102" fmla="*/ 90339 h 225475"/>
              <a:gd name="connsiteX103" fmla="*/ 987475 w 1679675"/>
              <a:gd name="connsiteY103" fmla="*/ 82302 h 225475"/>
              <a:gd name="connsiteX104" fmla="*/ 954584 w 1679675"/>
              <a:gd name="connsiteY104" fmla="*/ 96813 h 225475"/>
              <a:gd name="connsiteX105" fmla="*/ 941934 w 1679675"/>
              <a:gd name="connsiteY105" fmla="*/ 142726 h 225475"/>
              <a:gd name="connsiteX106" fmla="*/ 954137 w 1679675"/>
              <a:gd name="connsiteY106" fmla="*/ 189012 h 225475"/>
              <a:gd name="connsiteX107" fmla="*/ 985987 w 1679675"/>
              <a:gd name="connsiteY107" fmla="*/ 203448 h 225475"/>
              <a:gd name="connsiteX108" fmla="*/ 1012329 w 1679675"/>
              <a:gd name="connsiteY108" fmla="*/ 193775 h 225475"/>
              <a:gd name="connsiteX109" fmla="*/ 1025724 w 1679675"/>
              <a:gd name="connsiteY109" fmla="*/ 164009 h 225475"/>
              <a:gd name="connsiteX110" fmla="*/ 1052066 w 1679675"/>
              <a:gd name="connsiteY110" fmla="*/ 167432 h 225475"/>
              <a:gd name="connsiteX111" fmla="*/ 1029965 w 1679675"/>
              <a:gd name="connsiteY111" fmla="*/ 210071 h 225475"/>
              <a:gd name="connsiteX112" fmla="*/ 986284 w 1679675"/>
              <a:gd name="connsiteY112" fmla="*/ 225475 h 225475"/>
              <a:gd name="connsiteX113" fmla="*/ 934120 w 1679675"/>
              <a:gd name="connsiteY113" fmla="*/ 204267 h 225475"/>
              <a:gd name="connsiteX114" fmla="*/ 914400 w 1679675"/>
              <a:gd name="connsiteY114" fmla="*/ 143471 h 225475"/>
              <a:gd name="connsiteX115" fmla="*/ 922884 w 1679675"/>
              <a:gd name="connsiteY115" fmla="*/ 98673 h 225475"/>
              <a:gd name="connsiteX116" fmla="*/ 948705 w 1679675"/>
              <a:gd name="connsiteY116" fmla="*/ 69875 h 225475"/>
              <a:gd name="connsiteX117" fmla="*/ 986433 w 1679675"/>
              <a:gd name="connsiteY117" fmla="*/ 60276 h 225475"/>
              <a:gd name="connsiteX118" fmla="*/ 593527 w 1679675"/>
              <a:gd name="connsiteY118" fmla="*/ 60276 h 225475"/>
              <a:gd name="connsiteX119" fmla="*/ 626195 w 1679675"/>
              <a:gd name="connsiteY119" fmla="*/ 65633 h 225475"/>
              <a:gd name="connsiteX120" fmla="*/ 646956 w 1679675"/>
              <a:gd name="connsiteY120" fmla="*/ 80144 h 225475"/>
              <a:gd name="connsiteX121" fmla="*/ 656184 w 1679675"/>
              <a:gd name="connsiteY121" fmla="*/ 104626 h 225475"/>
              <a:gd name="connsiteX122" fmla="*/ 629990 w 1679675"/>
              <a:gd name="connsiteY122" fmla="*/ 108198 h 225475"/>
              <a:gd name="connsiteX123" fmla="*/ 619646 w 1679675"/>
              <a:gd name="connsiteY123" fmla="*/ 89148 h 225475"/>
              <a:gd name="connsiteX124" fmla="*/ 595462 w 1679675"/>
              <a:gd name="connsiteY124" fmla="*/ 82302 h 225475"/>
              <a:gd name="connsiteX125" fmla="*/ 569119 w 1679675"/>
              <a:gd name="connsiteY125" fmla="*/ 88404 h 225475"/>
              <a:gd name="connsiteX126" fmla="*/ 561231 w 1679675"/>
              <a:gd name="connsiteY126" fmla="*/ 102692 h 225475"/>
              <a:gd name="connsiteX127" fmla="*/ 564505 w 1679675"/>
              <a:gd name="connsiteY127" fmla="*/ 112068 h 225475"/>
              <a:gd name="connsiteX128" fmla="*/ 574775 w 1679675"/>
              <a:gd name="connsiteY128" fmla="*/ 119212 h 225475"/>
              <a:gd name="connsiteX129" fmla="*/ 598438 w 1679675"/>
              <a:gd name="connsiteY129" fmla="*/ 126058 h 225475"/>
              <a:gd name="connsiteX130" fmla="*/ 638101 w 1679675"/>
              <a:gd name="connsiteY130" fmla="*/ 138485 h 225475"/>
              <a:gd name="connsiteX131" fmla="*/ 655737 w 1679675"/>
              <a:gd name="connsiteY131" fmla="*/ 152549 h 225475"/>
              <a:gd name="connsiteX132" fmla="*/ 662137 w 1679675"/>
              <a:gd name="connsiteY132" fmla="*/ 175469 h 225475"/>
              <a:gd name="connsiteX133" fmla="*/ 654323 w 1679675"/>
              <a:gd name="connsiteY133" fmla="*/ 200695 h 225475"/>
              <a:gd name="connsiteX134" fmla="*/ 631776 w 1679675"/>
              <a:gd name="connsiteY134" fmla="*/ 219001 h 225475"/>
              <a:gd name="connsiteX135" fmla="*/ 598438 w 1679675"/>
              <a:gd name="connsiteY135" fmla="*/ 225475 h 225475"/>
              <a:gd name="connsiteX136" fmla="*/ 551483 w 1679675"/>
              <a:gd name="connsiteY136" fmla="*/ 212676 h 225475"/>
              <a:gd name="connsiteX137" fmla="*/ 530870 w 1679675"/>
              <a:gd name="connsiteY137" fmla="*/ 174724 h 225475"/>
              <a:gd name="connsiteX138" fmla="*/ 557362 w 1679675"/>
              <a:gd name="connsiteY138" fmla="*/ 170557 h 225475"/>
              <a:gd name="connsiteX139" fmla="*/ 569789 w 1679675"/>
              <a:gd name="connsiteY139" fmla="*/ 194965 h 225475"/>
              <a:gd name="connsiteX140" fmla="*/ 598289 w 1679675"/>
              <a:gd name="connsiteY140" fmla="*/ 203448 h 225475"/>
              <a:gd name="connsiteX141" fmla="*/ 625674 w 1679675"/>
              <a:gd name="connsiteY141" fmla="*/ 195933 h 225475"/>
              <a:gd name="connsiteX142" fmla="*/ 634603 w 1679675"/>
              <a:gd name="connsiteY142" fmla="*/ 178296 h 225475"/>
              <a:gd name="connsiteX143" fmla="*/ 626716 w 1679675"/>
              <a:gd name="connsiteY143" fmla="*/ 164009 h 225475"/>
              <a:gd name="connsiteX144" fmla="*/ 599331 w 1679675"/>
              <a:gd name="connsiteY144" fmla="*/ 154930 h 225475"/>
              <a:gd name="connsiteX145" fmla="*/ 558478 w 1679675"/>
              <a:gd name="connsiteY145" fmla="*/ 142057 h 225475"/>
              <a:gd name="connsiteX146" fmla="*/ 541214 w 1679675"/>
              <a:gd name="connsiteY146" fmla="*/ 127025 h 225475"/>
              <a:gd name="connsiteX147" fmla="*/ 535335 w 1679675"/>
              <a:gd name="connsiteY147" fmla="*/ 105817 h 225475"/>
              <a:gd name="connsiteX148" fmla="*/ 540172 w 1679675"/>
              <a:gd name="connsiteY148" fmla="*/ 86246 h 225475"/>
              <a:gd name="connsiteX149" fmla="*/ 553343 w 1679675"/>
              <a:gd name="connsiteY149" fmla="*/ 71289 h 225475"/>
              <a:gd name="connsiteX150" fmla="*/ 570384 w 1679675"/>
              <a:gd name="connsiteY150" fmla="*/ 63475 h 225475"/>
              <a:gd name="connsiteX151" fmla="*/ 593527 w 1679675"/>
              <a:gd name="connsiteY151" fmla="*/ 60276 h 225475"/>
              <a:gd name="connsiteX152" fmla="*/ 441127 w 1679675"/>
              <a:gd name="connsiteY152" fmla="*/ 60276 h 225475"/>
              <a:gd name="connsiteX153" fmla="*/ 473795 w 1679675"/>
              <a:gd name="connsiteY153" fmla="*/ 65633 h 225475"/>
              <a:gd name="connsiteX154" fmla="*/ 494556 w 1679675"/>
              <a:gd name="connsiteY154" fmla="*/ 80144 h 225475"/>
              <a:gd name="connsiteX155" fmla="*/ 503784 w 1679675"/>
              <a:gd name="connsiteY155" fmla="*/ 104626 h 225475"/>
              <a:gd name="connsiteX156" fmla="*/ 477590 w 1679675"/>
              <a:gd name="connsiteY156" fmla="*/ 108198 h 225475"/>
              <a:gd name="connsiteX157" fmla="*/ 467246 w 1679675"/>
              <a:gd name="connsiteY157" fmla="*/ 89148 h 225475"/>
              <a:gd name="connsiteX158" fmla="*/ 443062 w 1679675"/>
              <a:gd name="connsiteY158" fmla="*/ 82302 h 225475"/>
              <a:gd name="connsiteX159" fmla="*/ 416719 w 1679675"/>
              <a:gd name="connsiteY159" fmla="*/ 88404 h 225475"/>
              <a:gd name="connsiteX160" fmla="*/ 408831 w 1679675"/>
              <a:gd name="connsiteY160" fmla="*/ 102692 h 225475"/>
              <a:gd name="connsiteX161" fmla="*/ 412105 w 1679675"/>
              <a:gd name="connsiteY161" fmla="*/ 112068 h 225475"/>
              <a:gd name="connsiteX162" fmla="*/ 422375 w 1679675"/>
              <a:gd name="connsiteY162" fmla="*/ 119212 h 225475"/>
              <a:gd name="connsiteX163" fmla="*/ 446038 w 1679675"/>
              <a:gd name="connsiteY163" fmla="*/ 126058 h 225475"/>
              <a:gd name="connsiteX164" fmla="*/ 485701 w 1679675"/>
              <a:gd name="connsiteY164" fmla="*/ 138485 h 225475"/>
              <a:gd name="connsiteX165" fmla="*/ 503337 w 1679675"/>
              <a:gd name="connsiteY165" fmla="*/ 152549 h 225475"/>
              <a:gd name="connsiteX166" fmla="*/ 509737 w 1679675"/>
              <a:gd name="connsiteY166" fmla="*/ 175469 h 225475"/>
              <a:gd name="connsiteX167" fmla="*/ 501923 w 1679675"/>
              <a:gd name="connsiteY167" fmla="*/ 200695 h 225475"/>
              <a:gd name="connsiteX168" fmla="*/ 479376 w 1679675"/>
              <a:gd name="connsiteY168" fmla="*/ 219001 h 225475"/>
              <a:gd name="connsiteX169" fmla="*/ 446038 w 1679675"/>
              <a:gd name="connsiteY169" fmla="*/ 225475 h 225475"/>
              <a:gd name="connsiteX170" fmla="*/ 399083 w 1679675"/>
              <a:gd name="connsiteY170" fmla="*/ 212676 h 225475"/>
              <a:gd name="connsiteX171" fmla="*/ 378470 w 1679675"/>
              <a:gd name="connsiteY171" fmla="*/ 174724 h 225475"/>
              <a:gd name="connsiteX172" fmla="*/ 404962 w 1679675"/>
              <a:gd name="connsiteY172" fmla="*/ 170557 h 225475"/>
              <a:gd name="connsiteX173" fmla="*/ 417389 w 1679675"/>
              <a:gd name="connsiteY173" fmla="*/ 194965 h 225475"/>
              <a:gd name="connsiteX174" fmla="*/ 445889 w 1679675"/>
              <a:gd name="connsiteY174" fmla="*/ 203448 h 225475"/>
              <a:gd name="connsiteX175" fmla="*/ 473274 w 1679675"/>
              <a:gd name="connsiteY175" fmla="*/ 195933 h 225475"/>
              <a:gd name="connsiteX176" fmla="*/ 482203 w 1679675"/>
              <a:gd name="connsiteY176" fmla="*/ 178296 h 225475"/>
              <a:gd name="connsiteX177" fmla="*/ 474316 w 1679675"/>
              <a:gd name="connsiteY177" fmla="*/ 164009 h 225475"/>
              <a:gd name="connsiteX178" fmla="*/ 446931 w 1679675"/>
              <a:gd name="connsiteY178" fmla="*/ 154930 h 225475"/>
              <a:gd name="connsiteX179" fmla="*/ 406078 w 1679675"/>
              <a:gd name="connsiteY179" fmla="*/ 142057 h 225475"/>
              <a:gd name="connsiteX180" fmla="*/ 388814 w 1679675"/>
              <a:gd name="connsiteY180" fmla="*/ 127025 h 225475"/>
              <a:gd name="connsiteX181" fmla="*/ 382935 w 1679675"/>
              <a:gd name="connsiteY181" fmla="*/ 105817 h 225475"/>
              <a:gd name="connsiteX182" fmla="*/ 387772 w 1679675"/>
              <a:gd name="connsiteY182" fmla="*/ 86246 h 225475"/>
              <a:gd name="connsiteX183" fmla="*/ 400943 w 1679675"/>
              <a:gd name="connsiteY183" fmla="*/ 71289 h 225475"/>
              <a:gd name="connsiteX184" fmla="*/ 417984 w 1679675"/>
              <a:gd name="connsiteY184" fmla="*/ 63475 h 225475"/>
              <a:gd name="connsiteX185" fmla="*/ 441127 w 1679675"/>
              <a:gd name="connsiteY185" fmla="*/ 60276 h 225475"/>
              <a:gd name="connsiteX186" fmla="*/ 294085 w 1679675"/>
              <a:gd name="connsiteY186" fmla="*/ 60276 h 225475"/>
              <a:gd name="connsiteX187" fmla="*/ 326976 w 1679675"/>
              <a:gd name="connsiteY187" fmla="*/ 65038 h 225475"/>
              <a:gd name="connsiteX188" fmla="*/ 345579 w 1679675"/>
              <a:gd name="connsiteY188" fmla="*/ 77019 h 225475"/>
              <a:gd name="connsiteX189" fmla="*/ 353914 w 1679675"/>
              <a:gd name="connsiteY189" fmla="*/ 95250 h 225475"/>
              <a:gd name="connsiteX190" fmla="*/ 355253 w 1679675"/>
              <a:gd name="connsiteY190" fmla="*/ 119956 h 225475"/>
              <a:gd name="connsiteX191" fmla="*/ 355253 w 1679675"/>
              <a:gd name="connsiteY191" fmla="*/ 155674 h 225475"/>
              <a:gd name="connsiteX192" fmla="*/ 356965 w 1679675"/>
              <a:gd name="connsiteY192" fmla="*/ 202927 h 225475"/>
              <a:gd name="connsiteX193" fmla="*/ 363736 w 1679675"/>
              <a:gd name="connsiteY193" fmla="*/ 221903 h 225475"/>
              <a:gd name="connsiteX194" fmla="*/ 335757 w 1679675"/>
              <a:gd name="connsiteY194" fmla="*/ 221903 h 225475"/>
              <a:gd name="connsiteX195" fmla="*/ 330399 w 1679675"/>
              <a:gd name="connsiteY195" fmla="*/ 202407 h 225475"/>
              <a:gd name="connsiteX196" fmla="*/ 301749 w 1679675"/>
              <a:gd name="connsiteY196" fmla="*/ 220266 h 225475"/>
              <a:gd name="connsiteX197" fmla="*/ 272207 w 1679675"/>
              <a:gd name="connsiteY197" fmla="*/ 225475 h 225475"/>
              <a:gd name="connsiteX198" fmla="*/ 232172 w 1679675"/>
              <a:gd name="connsiteY198" fmla="*/ 212750 h 225475"/>
              <a:gd name="connsiteX199" fmla="*/ 218182 w 1679675"/>
              <a:gd name="connsiteY199" fmla="*/ 180231 h 225475"/>
              <a:gd name="connsiteX200" fmla="*/ 223466 w 1679675"/>
              <a:gd name="connsiteY200" fmla="*/ 159023 h 225475"/>
              <a:gd name="connsiteX201" fmla="*/ 237307 w 1679675"/>
              <a:gd name="connsiteY201" fmla="*/ 143619 h 225475"/>
              <a:gd name="connsiteX202" fmla="*/ 256580 w 1679675"/>
              <a:gd name="connsiteY202" fmla="*/ 134839 h 225475"/>
              <a:gd name="connsiteX203" fmla="*/ 280393 w 1679675"/>
              <a:gd name="connsiteY203" fmla="*/ 130820 h 225475"/>
              <a:gd name="connsiteX204" fmla="*/ 328166 w 1679675"/>
              <a:gd name="connsiteY204" fmla="*/ 121593 h 225475"/>
              <a:gd name="connsiteX205" fmla="*/ 328315 w 1679675"/>
              <a:gd name="connsiteY205" fmla="*/ 114598 h 225475"/>
              <a:gd name="connsiteX206" fmla="*/ 320725 w 1679675"/>
              <a:gd name="connsiteY206" fmla="*/ 91530 h 225475"/>
              <a:gd name="connsiteX207" fmla="*/ 290215 w 1679675"/>
              <a:gd name="connsiteY207" fmla="*/ 82451 h 225475"/>
              <a:gd name="connsiteX208" fmla="*/ 262310 w 1679675"/>
              <a:gd name="connsiteY208" fmla="*/ 89074 h 225475"/>
              <a:gd name="connsiteX209" fmla="*/ 248990 w 1679675"/>
              <a:gd name="connsiteY209" fmla="*/ 112514 h 225475"/>
              <a:gd name="connsiteX210" fmla="*/ 222796 w 1679675"/>
              <a:gd name="connsiteY210" fmla="*/ 108942 h 225475"/>
              <a:gd name="connsiteX211" fmla="*/ 234553 w 1679675"/>
              <a:gd name="connsiteY211" fmla="*/ 81781 h 225475"/>
              <a:gd name="connsiteX212" fmla="*/ 258217 w 1679675"/>
              <a:gd name="connsiteY212" fmla="*/ 65857 h 225475"/>
              <a:gd name="connsiteX213" fmla="*/ 294085 w 1679675"/>
              <a:gd name="connsiteY213" fmla="*/ 60276 h 225475"/>
              <a:gd name="connsiteX214" fmla="*/ 72033 w 1679675"/>
              <a:gd name="connsiteY214" fmla="*/ 60276 h 225475"/>
              <a:gd name="connsiteX215" fmla="*/ 114152 w 1679675"/>
              <a:gd name="connsiteY215" fmla="*/ 73298 h 225475"/>
              <a:gd name="connsiteX216" fmla="*/ 135136 w 1679675"/>
              <a:gd name="connsiteY216" fmla="*/ 110282 h 225475"/>
              <a:gd name="connsiteX217" fmla="*/ 109091 w 1679675"/>
              <a:gd name="connsiteY217" fmla="*/ 114300 h 225475"/>
              <a:gd name="connsiteX218" fmla="*/ 95920 w 1679675"/>
              <a:gd name="connsiteY218" fmla="*/ 90339 h 225475"/>
              <a:gd name="connsiteX219" fmla="*/ 73075 w 1679675"/>
              <a:gd name="connsiteY219" fmla="*/ 82302 h 225475"/>
              <a:gd name="connsiteX220" fmla="*/ 40184 w 1679675"/>
              <a:gd name="connsiteY220" fmla="*/ 96813 h 225475"/>
              <a:gd name="connsiteX221" fmla="*/ 27534 w 1679675"/>
              <a:gd name="connsiteY221" fmla="*/ 142726 h 225475"/>
              <a:gd name="connsiteX222" fmla="*/ 39737 w 1679675"/>
              <a:gd name="connsiteY222" fmla="*/ 189012 h 225475"/>
              <a:gd name="connsiteX223" fmla="*/ 71587 w 1679675"/>
              <a:gd name="connsiteY223" fmla="*/ 203448 h 225475"/>
              <a:gd name="connsiteX224" fmla="*/ 97929 w 1679675"/>
              <a:gd name="connsiteY224" fmla="*/ 193775 h 225475"/>
              <a:gd name="connsiteX225" fmla="*/ 111324 w 1679675"/>
              <a:gd name="connsiteY225" fmla="*/ 164009 h 225475"/>
              <a:gd name="connsiteX226" fmla="*/ 137666 w 1679675"/>
              <a:gd name="connsiteY226" fmla="*/ 167432 h 225475"/>
              <a:gd name="connsiteX227" fmla="*/ 115565 w 1679675"/>
              <a:gd name="connsiteY227" fmla="*/ 210071 h 225475"/>
              <a:gd name="connsiteX228" fmla="*/ 71884 w 1679675"/>
              <a:gd name="connsiteY228" fmla="*/ 225475 h 225475"/>
              <a:gd name="connsiteX229" fmla="*/ 19720 w 1679675"/>
              <a:gd name="connsiteY229" fmla="*/ 204267 h 225475"/>
              <a:gd name="connsiteX230" fmla="*/ 0 w 1679675"/>
              <a:gd name="connsiteY230" fmla="*/ 143471 h 225475"/>
              <a:gd name="connsiteX231" fmla="*/ 8484 w 1679675"/>
              <a:gd name="connsiteY231" fmla="*/ 98673 h 225475"/>
              <a:gd name="connsiteX232" fmla="*/ 34305 w 1679675"/>
              <a:gd name="connsiteY232" fmla="*/ 69875 h 225475"/>
              <a:gd name="connsiteX233" fmla="*/ 72033 w 1679675"/>
              <a:gd name="connsiteY233" fmla="*/ 60276 h 225475"/>
              <a:gd name="connsiteX234" fmla="*/ 1268462 w 1679675"/>
              <a:gd name="connsiteY234" fmla="*/ 8632 h 225475"/>
              <a:gd name="connsiteX235" fmla="*/ 1268462 w 1679675"/>
              <a:gd name="connsiteY235" fmla="*/ 63848 h 225475"/>
              <a:gd name="connsiteX236" fmla="*/ 1295400 w 1679675"/>
              <a:gd name="connsiteY236" fmla="*/ 63848 h 225475"/>
              <a:gd name="connsiteX237" fmla="*/ 1295400 w 1679675"/>
              <a:gd name="connsiteY237" fmla="*/ 84683 h 225475"/>
              <a:gd name="connsiteX238" fmla="*/ 1268462 w 1679675"/>
              <a:gd name="connsiteY238" fmla="*/ 84683 h 225475"/>
              <a:gd name="connsiteX239" fmla="*/ 1268462 w 1679675"/>
              <a:gd name="connsiteY239" fmla="*/ 177106 h 225475"/>
              <a:gd name="connsiteX240" fmla="*/ 1269876 w 1679675"/>
              <a:gd name="connsiteY240" fmla="*/ 191840 h 225475"/>
              <a:gd name="connsiteX241" fmla="*/ 1274490 w 1679675"/>
              <a:gd name="connsiteY241" fmla="*/ 197049 h 225475"/>
              <a:gd name="connsiteX242" fmla="*/ 1283643 w 1679675"/>
              <a:gd name="connsiteY242" fmla="*/ 198983 h 225475"/>
              <a:gd name="connsiteX243" fmla="*/ 1295400 w 1679675"/>
              <a:gd name="connsiteY243" fmla="*/ 197942 h 225475"/>
              <a:gd name="connsiteX244" fmla="*/ 1299270 w 1679675"/>
              <a:gd name="connsiteY244" fmla="*/ 221605 h 225475"/>
              <a:gd name="connsiteX245" fmla="*/ 1279029 w 1679675"/>
              <a:gd name="connsiteY245" fmla="*/ 223987 h 225475"/>
              <a:gd name="connsiteX246" fmla="*/ 1256407 w 1679675"/>
              <a:gd name="connsiteY246" fmla="*/ 219373 h 225475"/>
              <a:gd name="connsiteX247" fmla="*/ 1245096 w 1679675"/>
              <a:gd name="connsiteY247" fmla="*/ 207243 h 225475"/>
              <a:gd name="connsiteX248" fmla="*/ 1241822 w 1679675"/>
              <a:gd name="connsiteY248" fmla="*/ 175617 h 225475"/>
              <a:gd name="connsiteX249" fmla="*/ 1241822 w 1679675"/>
              <a:gd name="connsiteY249" fmla="*/ 84683 h 225475"/>
              <a:gd name="connsiteX250" fmla="*/ 1222177 w 1679675"/>
              <a:gd name="connsiteY250" fmla="*/ 84683 h 225475"/>
              <a:gd name="connsiteX251" fmla="*/ 1222177 w 1679675"/>
              <a:gd name="connsiteY251" fmla="*/ 63848 h 225475"/>
              <a:gd name="connsiteX252" fmla="*/ 1241822 w 1679675"/>
              <a:gd name="connsiteY252" fmla="*/ 63848 h 225475"/>
              <a:gd name="connsiteX253" fmla="*/ 1241822 w 1679675"/>
              <a:gd name="connsiteY253" fmla="*/ 24706 h 225475"/>
              <a:gd name="connsiteX254" fmla="*/ 1322785 w 1679675"/>
              <a:gd name="connsiteY254" fmla="*/ 3721 h 225475"/>
              <a:gd name="connsiteX255" fmla="*/ 1349574 w 1679675"/>
              <a:gd name="connsiteY255" fmla="*/ 3721 h 225475"/>
              <a:gd name="connsiteX256" fmla="*/ 1349574 w 1679675"/>
              <a:gd name="connsiteY256" fmla="*/ 34528 h 225475"/>
              <a:gd name="connsiteX257" fmla="*/ 1322785 w 1679675"/>
              <a:gd name="connsiteY257" fmla="*/ 34528 h 225475"/>
              <a:gd name="connsiteX258" fmla="*/ 856060 w 1679675"/>
              <a:gd name="connsiteY258" fmla="*/ 3721 h 225475"/>
              <a:gd name="connsiteX259" fmla="*/ 882849 w 1679675"/>
              <a:gd name="connsiteY259" fmla="*/ 3721 h 225475"/>
              <a:gd name="connsiteX260" fmla="*/ 882849 w 1679675"/>
              <a:gd name="connsiteY260" fmla="*/ 34528 h 225475"/>
              <a:gd name="connsiteX261" fmla="*/ 856060 w 1679675"/>
              <a:gd name="connsiteY261" fmla="*/ 34528 h 225475"/>
              <a:gd name="connsiteX262" fmla="*/ 694135 w 1679675"/>
              <a:gd name="connsiteY262" fmla="*/ 3721 h 225475"/>
              <a:gd name="connsiteX263" fmla="*/ 720924 w 1679675"/>
              <a:gd name="connsiteY263" fmla="*/ 3721 h 225475"/>
              <a:gd name="connsiteX264" fmla="*/ 720924 w 1679675"/>
              <a:gd name="connsiteY264" fmla="*/ 34528 h 225475"/>
              <a:gd name="connsiteX265" fmla="*/ 694135 w 1679675"/>
              <a:gd name="connsiteY265" fmla="*/ 34528 h 225475"/>
              <a:gd name="connsiteX266" fmla="*/ 159991 w 1679675"/>
              <a:gd name="connsiteY266" fmla="*/ 3721 h 225475"/>
              <a:gd name="connsiteX267" fmla="*/ 186780 w 1679675"/>
              <a:gd name="connsiteY267" fmla="*/ 3721 h 225475"/>
              <a:gd name="connsiteX268" fmla="*/ 186780 w 1679675"/>
              <a:gd name="connsiteY268" fmla="*/ 221903 h 225475"/>
              <a:gd name="connsiteX269" fmla="*/ 159991 w 1679675"/>
              <a:gd name="connsiteY269" fmla="*/ 221903 h 225475"/>
              <a:gd name="connsiteX270" fmla="*/ 810816 w 1679675"/>
              <a:gd name="connsiteY270" fmla="*/ 0 h 225475"/>
              <a:gd name="connsiteX271" fmla="*/ 835819 w 1679675"/>
              <a:gd name="connsiteY271" fmla="*/ 2679 h 225475"/>
              <a:gd name="connsiteX272" fmla="*/ 831801 w 1679675"/>
              <a:gd name="connsiteY272" fmla="*/ 26045 h 225475"/>
              <a:gd name="connsiteX273" fmla="*/ 816025 w 1679675"/>
              <a:gd name="connsiteY273" fmla="*/ 24557 h 225475"/>
              <a:gd name="connsiteX274" fmla="*/ 798761 w 1679675"/>
              <a:gd name="connsiteY274" fmla="*/ 29766 h 225475"/>
              <a:gd name="connsiteX275" fmla="*/ 793701 w 1679675"/>
              <a:gd name="connsiteY275" fmla="*/ 49262 h 225475"/>
              <a:gd name="connsiteX276" fmla="*/ 793701 w 1679675"/>
              <a:gd name="connsiteY276" fmla="*/ 63848 h 225475"/>
              <a:gd name="connsiteX277" fmla="*/ 824508 w 1679675"/>
              <a:gd name="connsiteY277" fmla="*/ 63848 h 225475"/>
              <a:gd name="connsiteX278" fmla="*/ 824508 w 1679675"/>
              <a:gd name="connsiteY278" fmla="*/ 84683 h 225475"/>
              <a:gd name="connsiteX279" fmla="*/ 793701 w 1679675"/>
              <a:gd name="connsiteY279" fmla="*/ 84683 h 225475"/>
              <a:gd name="connsiteX280" fmla="*/ 793701 w 1679675"/>
              <a:gd name="connsiteY280" fmla="*/ 221903 h 225475"/>
              <a:gd name="connsiteX281" fmla="*/ 767060 w 1679675"/>
              <a:gd name="connsiteY281" fmla="*/ 221903 h 225475"/>
              <a:gd name="connsiteX282" fmla="*/ 767060 w 1679675"/>
              <a:gd name="connsiteY282" fmla="*/ 84683 h 225475"/>
              <a:gd name="connsiteX283" fmla="*/ 743397 w 1679675"/>
              <a:gd name="connsiteY283" fmla="*/ 84683 h 225475"/>
              <a:gd name="connsiteX284" fmla="*/ 743397 w 1679675"/>
              <a:gd name="connsiteY284" fmla="*/ 63848 h 225475"/>
              <a:gd name="connsiteX285" fmla="*/ 767060 w 1679675"/>
              <a:gd name="connsiteY285" fmla="*/ 63848 h 225475"/>
              <a:gd name="connsiteX286" fmla="*/ 767060 w 1679675"/>
              <a:gd name="connsiteY286" fmla="*/ 47030 h 225475"/>
              <a:gd name="connsiteX287" fmla="*/ 769888 w 1679675"/>
              <a:gd name="connsiteY287" fmla="*/ 23366 h 225475"/>
              <a:gd name="connsiteX288" fmla="*/ 783506 w 1679675"/>
              <a:gd name="connsiteY288" fmla="*/ 6474 h 225475"/>
              <a:gd name="connsiteX289" fmla="*/ 810816 w 1679675"/>
              <a:gd name="connsiteY289" fmla="*/ 0 h 22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</a:cxnLst>
            <a:rect l="l" t="t" r="r" b="b"/>
            <a:pathLst>
              <a:path w="1679675" h="225475">
                <a:moveTo>
                  <a:pt x="1175891" y="142578"/>
                </a:moveTo>
                <a:cubicBezTo>
                  <a:pt x="1166168" y="146546"/>
                  <a:pt x="1151583" y="149920"/>
                  <a:pt x="1132136" y="152698"/>
                </a:cubicBezTo>
                <a:cubicBezTo>
                  <a:pt x="1121123" y="154285"/>
                  <a:pt x="1113334" y="156071"/>
                  <a:pt x="1108770" y="158056"/>
                </a:cubicBezTo>
                <a:cubicBezTo>
                  <a:pt x="1104206" y="160040"/>
                  <a:pt x="1100683" y="162942"/>
                  <a:pt x="1098203" y="166762"/>
                </a:cubicBezTo>
                <a:cubicBezTo>
                  <a:pt x="1095723" y="170582"/>
                  <a:pt x="1094482" y="174824"/>
                  <a:pt x="1094482" y="179487"/>
                </a:cubicBezTo>
                <a:cubicBezTo>
                  <a:pt x="1094482" y="186631"/>
                  <a:pt x="1097186" y="192584"/>
                  <a:pt x="1102593" y="197346"/>
                </a:cubicBezTo>
                <a:cubicBezTo>
                  <a:pt x="1108001" y="202109"/>
                  <a:pt x="1115914" y="204490"/>
                  <a:pt x="1126332" y="204490"/>
                </a:cubicBezTo>
                <a:cubicBezTo>
                  <a:pt x="1136650" y="204490"/>
                  <a:pt x="1145828" y="202233"/>
                  <a:pt x="1153865" y="197718"/>
                </a:cubicBezTo>
                <a:cubicBezTo>
                  <a:pt x="1161901" y="193204"/>
                  <a:pt x="1167805" y="187028"/>
                  <a:pt x="1171575" y="179189"/>
                </a:cubicBezTo>
                <a:cubicBezTo>
                  <a:pt x="1174453" y="173137"/>
                  <a:pt x="1175891" y="164207"/>
                  <a:pt x="1175891" y="152400"/>
                </a:cubicBezTo>
                <a:close/>
                <a:moveTo>
                  <a:pt x="328166" y="142578"/>
                </a:moveTo>
                <a:cubicBezTo>
                  <a:pt x="318443" y="146546"/>
                  <a:pt x="303858" y="149920"/>
                  <a:pt x="284411" y="152698"/>
                </a:cubicBezTo>
                <a:cubicBezTo>
                  <a:pt x="273398" y="154285"/>
                  <a:pt x="265609" y="156071"/>
                  <a:pt x="261045" y="158056"/>
                </a:cubicBezTo>
                <a:cubicBezTo>
                  <a:pt x="256481" y="160040"/>
                  <a:pt x="252959" y="162942"/>
                  <a:pt x="250478" y="166762"/>
                </a:cubicBezTo>
                <a:cubicBezTo>
                  <a:pt x="247998" y="170582"/>
                  <a:pt x="246757" y="174824"/>
                  <a:pt x="246757" y="179487"/>
                </a:cubicBezTo>
                <a:cubicBezTo>
                  <a:pt x="246757" y="186631"/>
                  <a:pt x="249461" y="192584"/>
                  <a:pt x="254868" y="197346"/>
                </a:cubicBezTo>
                <a:cubicBezTo>
                  <a:pt x="260276" y="202109"/>
                  <a:pt x="268189" y="204490"/>
                  <a:pt x="278607" y="204490"/>
                </a:cubicBezTo>
                <a:cubicBezTo>
                  <a:pt x="288925" y="204490"/>
                  <a:pt x="298103" y="202233"/>
                  <a:pt x="306140" y="197718"/>
                </a:cubicBezTo>
                <a:cubicBezTo>
                  <a:pt x="314177" y="193204"/>
                  <a:pt x="320080" y="187028"/>
                  <a:pt x="323850" y="179189"/>
                </a:cubicBezTo>
                <a:cubicBezTo>
                  <a:pt x="326728" y="173137"/>
                  <a:pt x="328166" y="164207"/>
                  <a:pt x="328166" y="152400"/>
                </a:cubicBezTo>
                <a:close/>
                <a:moveTo>
                  <a:pt x="1453456" y="82451"/>
                </a:moveTo>
                <a:cubicBezTo>
                  <a:pt x="1440061" y="82451"/>
                  <a:pt x="1428949" y="87462"/>
                  <a:pt x="1420118" y="97483"/>
                </a:cubicBezTo>
                <a:cubicBezTo>
                  <a:pt x="1411288" y="107504"/>
                  <a:pt x="1406873" y="122635"/>
                  <a:pt x="1406873" y="142875"/>
                </a:cubicBezTo>
                <a:cubicBezTo>
                  <a:pt x="1406873" y="163116"/>
                  <a:pt x="1411288" y="178272"/>
                  <a:pt x="1420118" y="188342"/>
                </a:cubicBezTo>
                <a:cubicBezTo>
                  <a:pt x="1428949" y="198413"/>
                  <a:pt x="1440061" y="203448"/>
                  <a:pt x="1453456" y="203448"/>
                </a:cubicBezTo>
                <a:cubicBezTo>
                  <a:pt x="1466751" y="203448"/>
                  <a:pt x="1477814" y="198388"/>
                  <a:pt x="1486644" y="188268"/>
                </a:cubicBezTo>
                <a:cubicBezTo>
                  <a:pt x="1495475" y="178148"/>
                  <a:pt x="1499890" y="162719"/>
                  <a:pt x="1499890" y="141982"/>
                </a:cubicBezTo>
                <a:cubicBezTo>
                  <a:pt x="1499890" y="122436"/>
                  <a:pt x="1495450" y="107628"/>
                  <a:pt x="1486570" y="97557"/>
                </a:cubicBezTo>
                <a:cubicBezTo>
                  <a:pt x="1477690" y="87486"/>
                  <a:pt x="1466652" y="82451"/>
                  <a:pt x="1453456" y="82451"/>
                </a:cubicBezTo>
                <a:close/>
                <a:moveTo>
                  <a:pt x="1322785" y="63848"/>
                </a:moveTo>
                <a:lnTo>
                  <a:pt x="1349574" y="63848"/>
                </a:lnTo>
                <a:lnTo>
                  <a:pt x="1349574" y="221903"/>
                </a:lnTo>
                <a:lnTo>
                  <a:pt x="1322785" y="221903"/>
                </a:lnTo>
                <a:close/>
                <a:moveTo>
                  <a:pt x="856060" y="63848"/>
                </a:moveTo>
                <a:lnTo>
                  <a:pt x="882849" y="63848"/>
                </a:lnTo>
                <a:lnTo>
                  <a:pt x="882849" y="221903"/>
                </a:lnTo>
                <a:lnTo>
                  <a:pt x="856060" y="221903"/>
                </a:lnTo>
                <a:close/>
                <a:moveTo>
                  <a:pt x="694135" y="63848"/>
                </a:moveTo>
                <a:lnTo>
                  <a:pt x="720924" y="63848"/>
                </a:lnTo>
                <a:lnTo>
                  <a:pt x="720924" y="221903"/>
                </a:lnTo>
                <a:lnTo>
                  <a:pt x="694135" y="221903"/>
                </a:lnTo>
                <a:close/>
                <a:moveTo>
                  <a:pt x="1625650" y="60276"/>
                </a:moveTo>
                <a:cubicBezTo>
                  <a:pt x="1635175" y="60276"/>
                  <a:pt x="1643931" y="61987"/>
                  <a:pt x="1651918" y="65410"/>
                </a:cubicBezTo>
                <a:cubicBezTo>
                  <a:pt x="1659905" y="68833"/>
                  <a:pt x="1665883" y="73323"/>
                  <a:pt x="1669852" y="78879"/>
                </a:cubicBezTo>
                <a:cubicBezTo>
                  <a:pt x="1673821" y="84435"/>
                  <a:pt x="1676599" y="91033"/>
                  <a:pt x="1678186" y="98673"/>
                </a:cubicBezTo>
                <a:cubicBezTo>
                  <a:pt x="1679178" y="103634"/>
                  <a:pt x="1679675" y="112316"/>
                  <a:pt x="1679675" y="124718"/>
                </a:cubicBezTo>
                <a:lnTo>
                  <a:pt x="1679675" y="221903"/>
                </a:lnTo>
                <a:lnTo>
                  <a:pt x="1652885" y="221903"/>
                </a:lnTo>
                <a:lnTo>
                  <a:pt x="1652885" y="125760"/>
                </a:lnTo>
                <a:cubicBezTo>
                  <a:pt x="1652885" y="114846"/>
                  <a:pt x="1651844" y="106685"/>
                  <a:pt x="1649760" y="101278"/>
                </a:cubicBezTo>
                <a:cubicBezTo>
                  <a:pt x="1647676" y="95870"/>
                  <a:pt x="1643981" y="91554"/>
                  <a:pt x="1638672" y="88330"/>
                </a:cubicBezTo>
                <a:cubicBezTo>
                  <a:pt x="1633364" y="85105"/>
                  <a:pt x="1627138" y="83493"/>
                  <a:pt x="1619994" y="83493"/>
                </a:cubicBezTo>
                <a:cubicBezTo>
                  <a:pt x="1608584" y="83493"/>
                  <a:pt x="1598737" y="87114"/>
                  <a:pt x="1590452" y="94357"/>
                </a:cubicBezTo>
                <a:cubicBezTo>
                  <a:pt x="1582167" y="101600"/>
                  <a:pt x="1578025" y="115342"/>
                  <a:pt x="1578025" y="135583"/>
                </a:cubicBezTo>
                <a:lnTo>
                  <a:pt x="1578025" y="221903"/>
                </a:lnTo>
                <a:lnTo>
                  <a:pt x="1551236" y="221903"/>
                </a:lnTo>
                <a:lnTo>
                  <a:pt x="1551236" y="63848"/>
                </a:lnTo>
                <a:lnTo>
                  <a:pt x="1575346" y="63848"/>
                </a:lnTo>
                <a:lnTo>
                  <a:pt x="1575346" y="86321"/>
                </a:lnTo>
                <a:cubicBezTo>
                  <a:pt x="1586955" y="68957"/>
                  <a:pt x="1603723" y="60276"/>
                  <a:pt x="1625650" y="60276"/>
                </a:cubicBezTo>
                <a:close/>
                <a:moveTo>
                  <a:pt x="1453456" y="60276"/>
                </a:moveTo>
                <a:cubicBezTo>
                  <a:pt x="1475185" y="60276"/>
                  <a:pt x="1492945" y="67395"/>
                  <a:pt x="1506736" y="81633"/>
                </a:cubicBezTo>
                <a:cubicBezTo>
                  <a:pt x="1520528" y="95870"/>
                  <a:pt x="1527423" y="115540"/>
                  <a:pt x="1527423" y="140643"/>
                </a:cubicBezTo>
                <a:cubicBezTo>
                  <a:pt x="1527423" y="160983"/>
                  <a:pt x="1524372" y="176982"/>
                  <a:pt x="1518270" y="188640"/>
                </a:cubicBezTo>
                <a:cubicBezTo>
                  <a:pt x="1512168" y="200298"/>
                  <a:pt x="1503288" y="209352"/>
                  <a:pt x="1491630" y="215801"/>
                </a:cubicBezTo>
                <a:cubicBezTo>
                  <a:pt x="1479972" y="222250"/>
                  <a:pt x="1467247" y="225475"/>
                  <a:pt x="1453456" y="225475"/>
                </a:cubicBezTo>
                <a:cubicBezTo>
                  <a:pt x="1431330" y="225475"/>
                  <a:pt x="1413446" y="218381"/>
                  <a:pt x="1399803" y="204192"/>
                </a:cubicBezTo>
                <a:cubicBezTo>
                  <a:pt x="1386161" y="190004"/>
                  <a:pt x="1379339" y="169565"/>
                  <a:pt x="1379339" y="142875"/>
                </a:cubicBezTo>
                <a:cubicBezTo>
                  <a:pt x="1379339" y="113606"/>
                  <a:pt x="1387475" y="91926"/>
                  <a:pt x="1403747" y="77837"/>
                </a:cubicBezTo>
                <a:cubicBezTo>
                  <a:pt x="1417340" y="66130"/>
                  <a:pt x="1433910" y="60276"/>
                  <a:pt x="1453456" y="60276"/>
                </a:cubicBezTo>
                <a:close/>
                <a:moveTo>
                  <a:pt x="1141810" y="60276"/>
                </a:moveTo>
                <a:cubicBezTo>
                  <a:pt x="1155303" y="60276"/>
                  <a:pt x="1166267" y="61863"/>
                  <a:pt x="1174701" y="65038"/>
                </a:cubicBezTo>
                <a:cubicBezTo>
                  <a:pt x="1183134" y="68213"/>
                  <a:pt x="1189335" y="72207"/>
                  <a:pt x="1193304" y="77019"/>
                </a:cubicBezTo>
                <a:cubicBezTo>
                  <a:pt x="1197273" y="81831"/>
                  <a:pt x="1200051" y="87908"/>
                  <a:pt x="1201639" y="95250"/>
                </a:cubicBezTo>
                <a:cubicBezTo>
                  <a:pt x="1202532" y="99814"/>
                  <a:pt x="1202978" y="108049"/>
                  <a:pt x="1202978" y="119956"/>
                </a:cubicBezTo>
                <a:lnTo>
                  <a:pt x="1202978" y="155674"/>
                </a:lnTo>
                <a:cubicBezTo>
                  <a:pt x="1202978" y="180578"/>
                  <a:pt x="1203549" y="196329"/>
                  <a:pt x="1204690" y="202927"/>
                </a:cubicBezTo>
                <a:cubicBezTo>
                  <a:pt x="1205831" y="209525"/>
                  <a:pt x="1208088" y="215851"/>
                  <a:pt x="1211461" y="221903"/>
                </a:cubicBezTo>
                <a:lnTo>
                  <a:pt x="1183482" y="221903"/>
                </a:lnTo>
                <a:cubicBezTo>
                  <a:pt x="1180703" y="216347"/>
                  <a:pt x="1178918" y="209848"/>
                  <a:pt x="1178124" y="202407"/>
                </a:cubicBezTo>
                <a:cubicBezTo>
                  <a:pt x="1168202" y="210840"/>
                  <a:pt x="1158652" y="216793"/>
                  <a:pt x="1149474" y="220266"/>
                </a:cubicBezTo>
                <a:cubicBezTo>
                  <a:pt x="1140297" y="223739"/>
                  <a:pt x="1130449" y="225475"/>
                  <a:pt x="1119932" y="225475"/>
                </a:cubicBezTo>
                <a:cubicBezTo>
                  <a:pt x="1102569" y="225475"/>
                  <a:pt x="1089224" y="221233"/>
                  <a:pt x="1079897" y="212750"/>
                </a:cubicBezTo>
                <a:cubicBezTo>
                  <a:pt x="1070571" y="204267"/>
                  <a:pt x="1065907" y="193427"/>
                  <a:pt x="1065907" y="180231"/>
                </a:cubicBezTo>
                <a:cubicBezTo>
                  <a:pt x="1065907" y="172492"/>
                  <a:pt x="1067669" y="165423"/>
                  <a:pt x="1071191" y="159023"/>
                </a:cubicBezTo>
                <a:cubicBezTo>
                  <a:pt x="1074713" y="152624"/>
                  <a:pt x="1079327" y="147489"/>
                  <a:pt x="1085032" y="143619"/>
                </a:cubicBezTo>
                <a:cubicBezTo>
                  <a:pt x="1090737" y="139750"/>
                  <a:pt x="1097161" y="136823"/>
                  <a:pt x="1104305" y="134839"/>
                </a:cubicBezTo>
                <a:cubicBezTo>
                  <a:pt x="1109564" y="133449"/>
                  <a:pt x="1117501" y="132110"/>
                  <a:pt x="1128118" y="130820"/>
                </a:cubicBezTo>
                <a:cubicBezTo>
                  <a:pt x="1149747" y="128241"/>
                  <a:pt x="1165672" y="125165"/>
                  <a:pt x="1175891" y="121593"/>
                </a:cubicBezTo>
                <a:cubicBezTo>
                  <a:pt x="1175991" y="117922"/>
                  <a:pt x="1176040" y="115590"/>
                  <a:pt x="1176040" y="114598"/>
                </a:cubicBezTo>
                <a:cubicBezTo>
                  <a:pt x="1176040" y="103684"/>
                  <a:pt x="1173510" y="95994"/>
                  <a:pt x="1168450" y="91530"/>
                </a:cubicBezTo>
                <a:cubicBezTo>
                  <a:pt x="1161604" y="85477"/>
                  <a:pt x="1151434" y="82451"/>
                  <a:pt x="1137940" y="82451"/>
                </a:cubicBezTo>
                <a:cubicBezTo>
                  <a:pt x="1125339" y="82451"/>
                  <a:pt x="1116038" y="84659"/>
                  <a:pt x="1110035" y="89074"/>
                </a:cubicBezTo>
                <a:cubicBezTo>
                  <a:pt x="1104032" y="93489"/>
                  <a:pt x="1099592" y="101303"/>
                  <a:pt x="1096715" y="112514"/>
                </a:cubicBezTo>
                <a:lnTo>
                  <a:pt x="1070521" y="108942"/>
                </a:lnTo>
                <a:cubicBezTo>
                  <a:pt x="1072902" y="97731"/>
                  <a:pt x="1076821" y="88677"/>
                  <a:pt x="1082278" y="81781"/>
                </a:cubicBezTo>
                <a:cubicBezTo>
                  <a:pt x="1087735" y="74886"/>
                  <a:pt x="1095623" y="69577"/>
                  <a:pt x="1105942" y="65857"/>
                </a:cubicBezTo>
                <a:cubicBezTo>
                  <a:pt x="1116261" y="62136"/>
                  <a:pt x="1128217" y="60276"/>
                  <a:pt x="1141810" y="60276"/>
                </a:cubicBezTo>
                <a:close/>
                <a:moveTo>
                  <a:pt x="986433" y="60276"/>
                </a:moveTo>
                <a:cubicBezTo>
                  <a:pt x="1003598" y="60276"/>
                  <a:pt x="1017637" y="64616"/>
                  <a:pt x="1028552" y="73298"/>
                </a:cubicBezTo>
                <a:cubicBezTo>
                  <a:pt x="1039466" y="81980"/>
                  <a:pt x="1046460" y="94308"/>
                  <a:pt x="1049536" y="110282"/>
                </a:cubicBezTo>
                <a:lnTo>
                  <a:pt x="1023491" y="114300"/>
                </a:lnTo>
                <a:cubicBezTo>
                  <a:pt x="1021011" y="103684"/>
                  <a:pt x="1016620" y="95697"/>
                  <a:pt x="1010320" y="90339"/>
                </a:cubicBezTo>
                <a:cubicBezTo>
                  <a:pt x="1004020" y="84981"/>
                  <a:pt x="996405" y="82302"/>
                  <a:pt x="987475" y="82302"/>
                </a:cubicBezTo>
                <a:cubicBezTo>
                  <a:pt x="973981" y="82302"/>
                  <a:pt x="963018" y="87139"/>
                  <a:pt x="954584" y="96813"/>
                </a:cubicBezTo>
                <a:cubicBezTo>
                  <a:pt x="946150" y="106487"/>
                  <a:pt x="941934" y="121791"/>
                  <a:pt x="941934" y="142726"/>
                </a:cubicBezTo>
                <a:cubicBezTo>
                  <a:pt x="941934" y="163959"/>
                  <a:pt x="946002" y="179388"/>
                  <a:pt x="954137" y="189012"/>
                </a:cubicBezTo>
                <a:cubicBezTo>
                  <a:pt x="962273" y="198636"/>
                  <a:pt x="972890" y="203448"/>
                  <a:pt x="985987" y="203448"/>
                </a:cubicBezTo>
                <a:cubicBezTo>
                  <a:pt x="996504" y="203448"/>
                  <a:pt x="1005285" y="200224"/>
                  <a:pt x="1012329" y="193775"/>
                </a:cubicBezTo>
                <a:cubicBezTo>
                  <a:pt x="1019374" y="187325"/>
                  <a:pt x="1023839" y="177403"/>
                  <a:pt x="1025724" y="164009"/>
                </a:cubicBezTo>
                <a:lnTo>
                  <a:pt x="1052066" y="167432"/>
                </a:lnTo>
                <a:cubicBezTo>
                  <a:pt x="1049189" y="185589"/>
                  <a:pt x="1041822" y="199802"/>
                  <a:pt x="1029965" y="210071"/>
                </a:cubicBezTo>
                <a:cubicBezTo>
                  <a:pt x="1018109" y="220340"/>
                  <a:pt x="1003548" y="225475"/>
                  <a:pt x="986284" y="225475"/>
                </a:cubicBezTo>
                <a:cubicBezTo>
                  <a:pt x="964655" y="225475"/>
                  <a:pt x="947267" y="218406"/>
                  <a:pt x="934120" y="204267"/>
                </a:cubicBezTo>
                <a:cubicBezTo>
                  <a:pt x="920974" y="190128"/>
                  <a:pt x="914400" y="169863"/>
                  <a:pt x="914400" y="143471"/>
                </a:cubicBezTo>
                <a:cubicBezTo>
                  <a:pt x="914400" y="126405"/>
                  <a:pt x="917228" y="111473"/>
                  <a:pt x="922884" y="98673"/>
                </a:cubicBezTo>
                <a:cubicBezTo>
                  <a:pt x="928539" y="85874"/>
                  <a:pt x="937146" y="76275"/>
                  <a:pt x="948705" y="69875"/>
                </a:cubicBezTo>
                <a:cubicBezTo>
                  <a:pt x="960264" y="63475"/>
                  <a:pt x="972840" y="60276"/>
                  <a:pt x="986433" y="60276"/>
                </a:cubicBezTo>
                <a:close/>
                <a:moveTo>
                  <a:pt x="593527" y="60276"/>
                </a:moveTo>
                <a:cubicBezTo>
                  <a:pt x="605929" y="60276"/>
                  <a:pt x="616819" y="62062"/>
                  <a:pt x="626195" y="65633"/>
                </a:cubicBezTo>
                <a:cubicBezTo>
                  <a:pt x="635571" y="69205"/>
                  <a:pt x="642491" y="74042"/>
                  <a:pt x="646956" y="80144"/>
                </a:cubicBezTo>
                <a:cubicBezTo>
                  <a:pt x="651421" y="86246"/>
                  <a:pt x="654497" y="94407"/>
                  <a:pt x="656184" y="104626"/>
                </a:cubicBezTo>
                <a:lnTo>
                  <a:pt x="629990" y="108198"/>
                </a:lnTo>
                <a:cubicBezTo>
                  <a:pt x="628799" y="100062"/>
                  <a:pt x="625351" y="93712"/>
                  <a:pt x="619646" y="89148"/>
                </a:cubicBezTo>
                <a:cubicBezTo>
                  <a:pt x="613941" y="84584"/>
                  <a:pt x="605880" y="82302"/>
                  <a:pt x="595462" y="82302"/>
                </a:cubicBezTo>
                <a:cubicBezTo>
                  <a:pt x="583159" y="82302"/>
                  <a:pt x="574378" y="84336"/>
                  <a:pt x="569119" y="88404"/>
                </a:cubicBezTo>
                <a:cubicBezTo>
                  <a:pt x="563861" y="92472"/>
                  <a:pt x="561231" y="97235"/>
                  <a:pt x="561231" y="102692"/>
                </a:cubicBezTo>
                <a:cubicBezTo>
                  <a:pt x="561231" y="106164"/>
                  <a:pt x="562323" y="109290"/>
                  <a:pt x="564505" y="112068"/>
                </a:cubicBezTo>
                <a:cubicBezTo>
                  <a:pt x="566688" y="114945"/>
                  <a:pt x="570111" y="117326"/>
                  <a:pt x="574775" y="119212"/>
                </a:cubicBezTo>
                <a:cubicBezTo>
                  <a:pt x="577454" y="120204"/>
                  <a:pt x="585341" y="122486"/>
                  <a:pt x="598438" y="126058"/>
                </a:cubicBezTo>
                <a:cubicBezTo>
                  <a:pt x="617389" y="131118"/>
                  <a:pt x="630610" y="135260"/>
                  <a:pt x="638101" y="138485"/>
                </a:cubicBezTo>
                <a:cubicBezTo>
                  <a:pt x="645592" y="141709"/>
                  <a:pt x="651471" y="146398"/>
                  <a:pt x="655737" y="152549"/>
                </a:cubicBezTo>
                <a:cubicBezTo>
                  <a:pt x="660003" y="158701"/>
                  <a:pt x="662137" y="166341"/>
                  <a:pt x="662137" y="175469"/>
                </a:cubicBezTo>
                <a:cubicBezTo>
                  <a:pt x="662137" y="184398"/>
                  <a:pt x="659532" y="192807"/>
                  <a:pt x="654323" y="200695"/>
                </a:cubicBezTo>
                <a:cubicBezTo>
                  <a:pt x="649114" y="208583"/>
                  <a:pt x="641598" y="214685"/>
                  <a:pt x="631776" y="219001"/>
                </a:cubicBezTo>
                <a:cubicBezTo>
                  <a:pt x="621953" y="223317"/>
                  <a:pt x="610841" y="225475"/>
                  <a:pt x="598438" y="225475"/>
                </a:cubicBezTo>
                <a:cubicBezTo>
                  <a:pt x="577900" y="225475"/>
                  <a:pt x="562248" y="221208"/>
                  <a:pt x="551483" y="212676"/>
                </a:cubicBezTo>
                <a:cubicBezTo>
                  <a:pt x="540718" y="204143"/>
                  <a:pt x="533847" y="191492"/>
                  <a:pt x="530870" y="174724"/>
                </a:cubicBezTo>
                <a:lnTo>
                  <a:pt x="557362" y="170557"/>
                </a:lnTo>
                <a:cubicBezTo>
                  <a:pt x="558850" y="181174"/>
                  <a:pt x="562992" y="189310"/>
                  <a:pt x="569789" y="194965"/>
                </a:cubicBezTo>
                <a:cubicBezTo>
                  <a:pt x="576585" y="200621"/>
                  <a:pt x="586086" y="203448"/>
                  <a:pt x="598289" y="203448"/>
                </a:cubicBezTo>
                <a:cubicBezTo>
                  <a:pt x="610593" y="203448"/>
                  <a:pt x="619721" y="200943"/>
                  <a:pt x="625674" y="195933"/>
                </a:cubicBezTo>
                <a:cubicBezTo>
                  <a:pt x="631627" y="190922"/>
                  <a:pt x="634603" y="185043"/>
                  <a:pt x="634603" y="178296"/>
                </a:cubicBezTo>
                <a:cubicBezTo>
                  <a:pt x="634603" y="172244"/>
                  <a:pt x="631974" y="167482"/>
                  <a:pt x="626716" y="164009"/>
                </a:cubicBezTo>
                <a:cubicBezTo>
                  <a:pt x="623045" y="161628"/>
                  <a:pt x="613916" y="158601"/>
                  <a:pt x="599331" y="154930"/>
                </a:cubicBezTo>
                <a:cubicBezTo>
                  <a:pt x="579686" y="149969"/>
                  <a:pt x="566068" y="145678"/>
                  <a:pt x="558478" y="142057"/>
                </a:cubicBezTo>
                <a:cubicBezTo>
                  <a:pt x="550888" y="138435"/>
                  <a:pt x="545133" y="133425"/>
                  <a:pt x="541214" y="127025"/>
                </a:cubicBezTo>
                <a:cubicBezTo>
                  <a:pt x="537295" y="120625"/>
                  <a:pt x="535335" y="113556"/>
                  <a:pt x="535335" y="105817"/>
                </a:cubicBezTo>
                <a:cubicBezTo>
                  <a:pt x="535335" y="98773"/>
                  <a:pt x="536947" y="92249"/>
                  <a:pt x="540172" y="86246"/>
                </a:cubicBezTo>
                <a:cubicBezTo>
                  <a:pt x="543397" y="80243"/>
                  <a:pt x="547787" y="75258"/>
                  <a:pt x="553343" y="71289"/>
                </a:cubicBezTo>
                <a:cubicBezTo>
                  <a:pt x="557510" y="68213"/>
                  <a:pt x="563191" y="65609"/>
                  <a:pt x="570384" y="63475"/>
                </a:cubicBezTo>
                <a:cubicBezTo>
                  <a:pt x="577578" y="61342"/>
                  <a:pt x="585292" y="60276"/>
                  <a:pt x="593527" y="60276"/>
                </a:cubicBezTo>
                <a:close/>
                <a:moveTo>
                  <a:pt x="441127" y="60276"/>
                </a:moveTo>
                <a:cubicBezTo>
                  <a:pt x="453529" y="60276"/>
                  <a:pt x="464419" y="62062"/>
                  <a:pt x="473795" y="65633"/>
                </a:cubicBezTo>
                <a:cubicBezTo>
                  <a:pt x="483171" y="69205"/>
                  <a:pt x="490091" y="74042"/>
                  <a:pt x="494556" y="80144"/>
                </a:cubicBezTo>
                <a:cubicBezTo>
                  <a:pt x="499021" y="86246"/>
                  <a:pt x="502097" y="94407"/>
                  <a:pt x="503784" y="104626"/>
                </a:cubicBezTo>
                <a:lnTo>
                  <a:pt x="477590" y="108198"/>
                </a:lnTo>
                <a:cubicBezTo>
                  <a:pt x="476399" y="100062"/>
                  <a:pt x="472951" y="93712"/>
                  <a:pt x="467246" y="89148"/>
                </a:cubicBezTo>
                <a:cubicBezTo>
                  <a:pt x="461541" y="84584"/>
                  <a:pt x="453480" y="82302"/>
                  <a:pt x="443062" y="82302"/>
                </a:cubicBezTo>
                <a:cubicBezTo>
                  <a:pt x="430759" y="82302"/>
                  <a:pt x="421978" y="84336"/>
                  <a:pt x="416719" y="88404"/>
                </a:cubicBezTo>
                <a:cubicBezTo>
                  <a:pt x="411461" y="92472"/>
                  <a:pt x="408831" y="97235"/>
                  <a:pt x="408831" y="102692"/>
                </a:cubicBezTo>
                <a:cubicBezTo>
                  <a:pt x="408831" y="106164"/>
                  <a:pt x="409923" y="109290"/>
                  <a:pt x="412105" y="112068"/>
                </a:cubicBezTo>
                <a:cubicBezTo>
                  <a:pt x="414288" y="114945"/>
                  <a:pt x="417711" y="117326"/>
                  <a:pt x="422375" y="119212"/>
                </a:cubicBezTo>
                <a:cubicBezTo>
                  <a:pt x="425053" y="120204"/>
                  <a:pt x="432941" y="122486"/>
                  <a:pt x="446038" y="126058"/>
                </a:cubicBezTo>
                <a:cubicBezTo>
                  <a:pt x="464989" y="131118"/>
                  <a:pt x="478210" y="135260"/>
                  <a:pt x="485701" y="138485"/>
                </a:cubicBezTo>
                <a:cubicBezTo>
                  <a:pt x="493192" y="141709"/>
                  <a:pt x="499071" y="146398"/>
                  <a:pt x="503337" y="152549"/>
                </a:cubicBezTo>
                <a:cubicBezTo>
                  <a:pt x="507603" y="158701"/>
                  <a:pt x="509737" y="166341"/>
                  <a:pt x="509737" y="175469"/>
                </a:cubicBezTo>
                <a:cubicBezTo>
                  <a:pt x="509737" y="184398"/>
                  <a:pt x="507132" y="192807"/>
                  <a:pt x="501923" y="200695"/>
                </a:cubicBezTo>
                <a:cubicBezTo>
                  <a:pt x="496714" y="208583"/>
                  <a:pt x="489198" y="214685"/>
                  <a:pt x="479376" y="219001"/>
                </a:cubicBezTo>
                <a:cubicBezTo>
                  <a:pt x="469553" y="223317"/>
                  <a:pt x="458441" y="225475"/>
                  <a:pt x="446038" y="225475"/>
                </a:cubicBezTo>
                <a:cubicBezTo>
                  <a:pt x="425500" y="225475"/>
                  <a:pt x="409848" y="221208"/>
                  <a:pt x="399083" y="212676"/>
                </a:cubicBezTo>
                <a:cubicBezTo>
                  <a:pt x="388318" y="204143"/>
                  <a:pt x="381447" y="191492"/>
                  <a:pt x="378470" y="174724"/>
                </a:cubicBezTo>
                <a:lnTo>
                  <a:pt x="404962" y="170557"/>
                </a:lnTo>
                <a:cubicBezTo>
                  <a:pt x="406450" y="181174"/>
                  <a:pt x="410592" y="189310"/>
                  <a:pt x="417389" y="194965"/>
                </a:cubicBezTo>
                <a:cubicBezTo>
                  <a:pt x="424185" y="200621"/>
                  <a:pt x="433685" y="203448"/>
                  <a:pt x="445889" y="203448"/>
                </a:cubicBezTo>
                <a:cubicBezTo>
                  <a:pt x="458192" y="203448"/>
                  <a:pt x="467321" y="200943"/>
                  <a:pt x="473274" y="195933"/>
                </a:cubicBezTo>
                <a:cubicBezTo>
                  <a:pt x="479227" y="190922"/>
                  <a:pt x="482203" y="185043"/>
                  <a:pt x="482203" y="178296"/>
                </a:cubicBezTo>
                <a:cubicBezTo>
                  <a:pt x="482203" y="172244"/>
                  <a:pt x="479574" y="167482"/>
                  <a:pt x="474316" y="164009"/>
                </a:cubicBezTo>
                <a:cubicBezTo>
                  <a:pt x="470644" y="161628"/>
                  <a:pt x="461516" y="158601"/>
                  <a:pt x="446931" y="154930"/>
                </a:cubicBezTo>
                <a:cubicBezTo>
                  <a:pt x="427286" y="149969"/>
                  <a:pt x="413668" y="145678"/>
                  <a:pt x="406078" y="142057"/>
                </a:cubicBezTo>
                <a:cubicBezTo>
                  <a:pt x="398488" y="138435"/>
                  <a:pt x="392733" y="133425"/>
                  <a:pt x="388814" y="127025"/>
                </a:cubicBezTo>
                <a:cubicBezTo>
                  <a:pt x="384895" y="120625"/>
                  <a:pt x="382935" y="113556"/>
                  <a:pt x="382935" y="105817"/>
                </a:cubicBezTo>
                <a:cubicBezTo>
                  <a:pt x="382935" y="98773"/>
                  <a:pt x="384547" y="92249"/>
                  <a:pt x="387772" y="86246"/>
                </a:cubicBezTo>
                <a:cubicBezTo>
                  <a:pt x="390997" y="80243"/>
                  <a:pt x="395387" y="75258"/>
                  <a:pt x="400943" y="71289"/>
                </a:cubicBezTo>
                <a:cubicBezTo>
                  <a:pt x="405111" y="68213"/>
                  <a:pt x="410791" y="65609"/>
                  <a:pt x="417984" y="63475"/>
                </a:cubicBezTo>
                <a:cubicBezTo>
                  <a:pt x="425177" y="61342"/>
                  <a:pt x="432892" y="60276"/>
                  <a:pt x="441127" y="60276"/>
                </a:cubicBezTo>
                <a:close/>
                <a:moveTo>
                  <a:pt x="294085" y="60276"/>
                </a:moveTo>
                <a:cubicBezTo>
                  <a:pt x="307578" y="60276"/>
                  <a:pt x="318542" y="61863"/>
                  <a:pt x="326976" y="65038"/>
                </a:cubicBezTo>
                <a:cubicBezTo>
                  <a:pt x="335409" y="68213"/>
                  <a:pt x="341610" y="72207"/>
                  <a:pt x="345579" y="77019"/>
                </a:cubicBezTo>
                <a:cubicBezTo>
                  <a:pt x="349548" y="81831"/>
                  <a:pt x="352326" y="87908"/>
                  <a:pt x="353914" y="95250"/>
                </a:cubicBezTo>
                <a:cubicBezTo>
                  <a:pt x="354807" y="99814"/>
                  <a:pt x="355253" y="108049"/>
                  <a:pt x="355253" y="119956"/>
                </a:cubicBezTo>
                <a:lnTo>
                  <a:pt x="355253" y="155674"/>
                </a:lnTo>
                <a:cubicBezTo>
                  <a:pt x="355253" y="180578"/>
                  <a:pt x="355824" y="196329"/>
                  <a:pt x="356965" y="202927"/>
                </a:cubicBezTo>
                <a:cubicBezTo>
                  <a:pt x="358106" y="209525"/>
                  <a:pt x="360363" y="215851"/>
                  <a:pt x="363736" y="221903"/>
                </a:cubicBezTo>
                <a:lnTo>
                  <a:pt x="335757" y="221903"/>
                </a:lnTo>
                <a:cubicBezTo>
                  <a:pt x="332978" y="216347"/>
                  <a:pt x="331193" y="209848"/>
                  <a:pt x="330399" y="202407"/>
                </a:cubicBezTo>
                <a:cubicBezTo>
                  <a:pt x="320477" y="210840"/>
                  <a:pt x="310927" y="216793"/>
                  <a:pt x="301749" y="220266"/>
                </a:cubicBezTo>
                <a:cubicBezTo>
                  <a:pt x="292572" y="223739"/>
                  <a:pt x="282724" y="225475"/>
                  <a:pt x="272207" y="225475"/>
                </a:cubicBezTo>
                <a:cubicBezTo>
                  <a:pt x="254844" y="225475"/>
                  <a:pt x="241499" y="221233"/>
                  <a:pt x="232172" y="212750"/>
                </a:cubicBezTo>
                <a:cubicBezTo>
                  <a:pt x="222846" y="204267"/>
                  <a:pt x="218182" y="193427"/>
                  <a:pt x="218182" y="180231"/>
                </a:cubicBezTo>
                <a:cubicBezTo>
                  <a:pt x="218182" y="172492"/>
                  <a:pt x="219944" y="165423"/>
                  <a:pt x="223466" y="159023"/>
                </a:cubicBezTo>
                <a:cubicBezTo>
                  <a:pt x="226988" y="152624"/>
                  <a:pt x="231602" y="147489"/>
                  <a:pt x="237307" y="143619"/>
                </a:cubicBezTo>
                <a:cubicBezTo>
                  <a:pt x="243012" y="139750"/>
                  <a:pt x="249436" y="136823"/>
                  <a:pt x="256580" y="134839"/>
                </a:cubicBezTo>
                <a:cubicBezTo>
                  <a:pt x="261839" y="133449"/>
                  <a:pt x="269776" y="132110"/>
                  <a:pt x="280393" y="130820"/>
                </a:cubicBezTo>
                <a:cubicBezTo>
                  <a:pt x="302022" y="128241"/>
                  <a:pt x="317947" y="125165"/>
                  <a:pt x="328166" y="121593"/>
                </a:cubicBezTo>
                <a:cubicBezTo>
                  <a:pt x="328266" y="117922"/>
                  <a:pt x="328315" y="115590"/>
                  <a:pt x="328315" y="114598"/>
                </a:cubicBezTo>
                <a:cubicBezTo>
                  <a:pt x="328315" y="103684"/>
                  <a:pt x="325785" y="95994"/>
                  <a:pt x="320725" y="91530"/>
                </a:cubicBezTo>
                <a:cubicBezTo>
                  <a:pt x="313879" y="85477"/>
                  <a:pt x="303709" y="82451"/>
                  <a:pt x="290215" y="82451"/>
                </a:cubicBezTo>
                <a:cubicBezTo>
                  <a:pt x="277614" y="82451"/>
                  <a:pt x="268313" y="84659"/>
                  <a:pt x="262310" y="89074"/>
                </a:cubicBezTo>
                <a:cubicBezTo>
                  <a:pt x="256307" y="93489"/>
                  <a:pt x="251867" y="101303"/>
                  <a:pt x="248990" y="112514"/>
                </a:cubicBezTo>
                <a:lnTo>
                  <a:pt x="222796" y="108942"/>
                </a:lnTo>
                <a:cubicBezTo>
                  <a:pt x="225177" y="97731"/>
                  <a:pt x="229096" y="88677"/>
                  <a:pt x="234553" y="81781"/>
                </a:cubicBezTo>
                <a:cubicBezTo>
                  <a:pt x="240011" y="74886"/>
                  <a:pt x="247898" y="69577"/>
                  <a:pt x="258217" y="65857"/>
                </a:cubicBezTo>
                <a:cubicBezTo>
                  <a:pt x="268536" y="62136"/>
                  <a:pt x="280492" y="60276"/>
                  <a:pt x="294085" y="60276"/>
                </a:cubicBezTo>
                <a:close/>
                <a:moveTo>
                  <a:pt x="72033" y="60276"/>
                </a:moveTo>
                <a:cubicBezTo>
                  <a:pt x="89198" y="60276"/>
                  <a:pt x="103237" y="64616"/>
                  <a:pt x="114152" y="73298"/>
                </a:cubicBezTo>
                <a:cubicBezTo>
                  <a:pt x="125066" y="81980"/>
                  <a:pt x="132060" y="94308"/>
                  <a:pt x="135136" y="110282"/>
                </a:cubicBezTo>
                <a:lnTo>
                  <a:pt x="109091" y="114300"/>
                </a:lnTo>
                <a:cubicBezTo>
                  <a:pt x="106611" y="103684"/>
                  <a:pt x="102220" y="95697"/>
                  <a:pt x="95920" y="90339"/>
                </a:cubicBezTo>
                <a:cubicBezTo>
                  <a:pt x="89620" y="84981"/>
                  <a:pt x="82005" y="82302"/>
                  <a:pt x="73075" y="82302"/>
                </a:cubicBezTo>
                <a:cubicBezTo>
                  <a:pt x="59581" y="82302"/>
                  <a:pt x="48618" y="87139"/>
                  <a:pt x="40184" y="96813"/>
                </a:cubicBezTo>
                <a:cubicBezTo>
                  <a:pt x="31750" y="106487"/>
                  <a:pt x="27534" y="121791"/>
                  <a:pt x="27534" y="142726"/>
                </a:cubicBezTo>
                <a:cubicBezTo>
                  <a:pt x="27534" y="163959"/>
                  <a:pt x="31601" y="179388"/>
                  <a:pt x="39737" y="189012"/>
                </a:cubicBezTo>
                <a:cubicBezTo>
                  <a:pt x="47873" y="198636"/>
                  <a:pt x="58490" y="203448"/>
                  <a:pt x="71587" y="203448"/>
                </a:cubicBezTo>
                <a:cubicBezTo>
                  <a:pt x="82104" y="203448"/>
                  <a:pt x="90885" y="200224"/>
                  <a:pt x="97929" y="193775"/>
                </a:cubicBezTo>
                <a:cubicBezTo>
                  <a:pt x="104974" y="187325"/>
                  <a:pt x="109439" y="177403"/>
                  <a:pt x="111324" y="164009"/>
                </a:cubicBezTo>
                <a:lnTo>
                  <a:pt x="137666" y="167432"/>
                </a:lnTo>
                <a:cubicBezTo>
                  <a:pt x="134789" y="185589"/>
                  <a:pt x="127422" y="199802"/>
                  <a:pt x="115565" y="210071"/>
                </a:cubicBezTo>
                <a:cubicBezTo>
                  <a:pt x="103709" y="220340"/>
                  <a:pt x="89148" y="225475"/>
                  <a:pt x="71884" y="225475"/>
                </a:cubicBezTo>
                <a:cubicBezTo>
                  <a:pt x="50255" y="225475"/>
                  <a:pt x="32867" y="218406"/>
                  <a:pt x="19720" y="204267"/>
                </a:cubicBezTo>
                <a:cubicBezTo>
                  <a:pt x="6574" y="190128"/>
                  <a:pt x="0" y="169863"/>
                  <a:pt x="0" y="143471"/>
                </a:cubicBezTo>
                <a:cubicBezTo>
                  <a:pt x="0" y="126405"/>
                  <a:pt x="2828" y="111473"/>
                  <a:pt x="8484" y="98673"/>
                </a:cubicBezTo>
                <a:cubicBezTo>
                  <a:pt x="14139" y="85874"/>
                  <a:pt x="22746" y="76275"/>
                  <a:pt x="34305" y="69875"/>
                </a:cubicBezTo>
                <a:cubicBezTo>
                  <a:pt x="45864" y="63475"/>
                  <a:pt x="58440" y="60276"/>
                  <a:pt x="72033" y="60276"/>
                </a:cubicBezTo>
                <a:close/>
                <a:moveTo>
                  <a:pt x="1268462" y="8632"/>
                </a:moveTo>
                <a:lnTo>
                  <a:pt x="1268462" y="63848"/>
                </a:lnTo>
                <a:lnTo>
                  <a:pt x="1295400" y="63848"/>
                </a:lnTo>
                <a:lnTo>
                  <a:pt x="1295400" y="84683"/>
                </a:lnTo>
                <a:lnTo>
                  <a:pt x="1268462" y="84683"/>
                </a:lnTo>
                <a:lnTo>
                  <a:pt x="1268462" y="177106"/>
                </a:lnTo>
                <a:cubicBezTo>
                  <a:pt x="1268462" y="184746"/>
                  <a:pt x="1268934" y="189657"/>
                  <a:pt x="1269876" y="191840"/>
                </a:cubicBezTo>
                <a:cubicBezTo>
                  <a:pt x="1270819" y="194023"/>
                  <a:pt x="1272357" y="195759"/>
                  <a:pt x="1274490" y="197049"/>
                </a:cubicBezTo>
                <a:cubicBezTo>
                  <a:pt x="1276623" y="198339"/>
                  <a:pt x="1279674" y="198983"/>
                  <a:pt x="1283643" y="198983"/>
                </a:cubicBezTo>
                <a:cubicBezTo>
                  <a:pt x="1286619" y="198983"/>
                  <a:pt x="1290539" y="198636"/>
                  <a:pt x="1295400" y="197942"/>
                </a:cubicBezTo>
                <a:lnTo>
                  <a:pt x="1299270" y="221605"/>
                </a:lnTo>
                <a:cubicBezTo>
                  <a:pt x="1291729" y="223193"/>
                  <a:pt x="1284982" y="223987"/>
                  <a:pt x="1279029" y="223987"/>
                </a:cubicBezTo>
                <a:cubicBezTo>
                  <a:pt x="1269306" y="223987"/>
                  <a:pt x="1261765" y="222449"/>
                  <a:pt x="1256407" y="219373"/>
                </a:cubicBezTo>
                <a:cubicBezTo>
                  <a:pt x="1251050" y="216297"/>
                  <a:pt x="1247279" y="212254"/>
                  <a:pt x="1245096" y="207243"/>
                </a:cubicBezTo>
                <a:cubicBezTo>
                  <a:pt x="1242914" y="202233"/>
                  <a:pt x="1241822" y="191691"/>
                  <a:pt x="1241822" y="175617"/>
                </a:cubicBezTo>
                <a:lnTo>
                  <a:pt x="1241822" y="84683"/>
                </a:lnTo>
                <a:lnTo>
                  <a:pt x="1222177" y="84683"/>
                </a:lnTo>
                <a:lnTo>
                  <a:pt x="1222177" y="63848"/>
                </a:lnTo>
                <a:lnTo>
                  <a:pt x="1241822" y="63848"/>
                </a:lnTo>
                <a:lnTo>
                  <a:pt x="1241822" y="24706"/>
                </a:lnTo>
                <a:close/>
                <a:moveTo>
                  <a:pt x="1322785" y="3721"/>
                </a:moveTo>
                <a:lnTo>
                  <a:pt x="1349574" y="3721"/>
                </a:lnTo>
                <a:lnTo>
                  <a:pt x="1349574" y="34528"/>
                </a:lnTo>
                <a:lnTo>
                  <a:pt x="1322785" y="34528"/>
                </a:lnTo>
                <a:close/>
                <a:moveTo>
                  <a:pt x="856060" y="3721"/>
                </a:moveTo>
                <a:lnTo>
                  <a:pt x="882849" y="3721"/>
                </a:lnTo>
                <a:lnTo>
                  <a:pt x="882849" y="34528"/>
                </a:lnTo>
                <a:lnTo>
                  <a:pt x="856060" y="34528"/>
                </a:lnTo>
                <a:close/>
                <a:moveTo>
                  <a:pt x="694135" y="3721"/>
                </a:moveTo>
                <a:lnTo>
                  <a:pt x="720924" y="3721"/>
                </a:lnTo>
                <a:lnTo>
                  <a:pt x="720924" y="34528"/>
                </a:lnTo>
                <a:lnTo>
                  <a:pt x="694135" y="34528"/>
                </a:lnTo>
                <a:close/>
                <a:moveTo>
                  <a:pt x="159991" y="3721"/>
                </a:moveTo>
                <a:lnTo>
                  <a:pt x="186780" y="3721"/>
                </a:lnTo>
                <a:lnTo>
                  <a:pt x="186780" y="221903"/>
                </a:lnTo>
                <a:lnTo>
                  <a:pt x="159991" y="221903"/>
                </a:lnTo>
                <a:close/>
                <a:moveTo>
                  <a:pt x="810816" y="0"/>
                </a:moveTo>
                <a:cubicBezTo>
                  <a:pt x="818357" y="0"/>
                  <a:pt x="826691" y="893"/>
                  <a:pt x="835819" y="2679"/>
                </a:cubicBezTo>
                <a:lnTo>
                  <a:pt x="831801" y="26045"/>
                </a:lnTo>
                <a:cubicBezTo>
                  <a:pt x="826244" y="25053"/>
                  <a:pt x="820986" y="24557"/>
                  <a:pt x="816025" y="24557"/>
                </a:cubicBezTo>
                <a:cubicBezTo>
                  <a:pt x="807889" y="24557"/>
                  <a:pt x="802134" y="26293"/>
                  <a:pt x="798761" y="29766"/>
                </a:cubicBezTo>
                <a:cubicBezTo>
                  <a:pt x="795387" y="33239"/>
                  <a:pt x="793701" y="39737"/>
                  <a:pt x="793701" y="49262"/>
                </a:cubicBezTo>
                <a:lnTo>
                  <a:pt x="793701" y="63848"/>
                </a:lnTo>
                <a:lnTo>
                  <a:pt x="824508" y="63848"/>
                </a:lnTo>
                <a:lnTo>
                  <a:pt x="824508" y="84683"/>
                </a:lnTo>
                <a:lnTo>
                  <a:pt x="793701" y="84683"/>
                </a:lnTo>
                <a:lnTo>
                  <a:pt x="793701" y="221903"/>
                </a:lnTo>
                <a:lnTo>
                  <a:pt x="767060" y="221903"/>
                </a:lnTo>
                <a:lnTo>
                  <a:pt x="767060" y="84683"/>
                </a:lnTo>
                <a:lnTo>
                  <a:pt x="743397" y="84683"/>
                </a:lnTo>
                <a:lnTo>
                  <a:pt x="743397" y="63848"/>
                </a:lnTo>
                <a:lnTo>
                  <a:pt x="767060" y="63848"/>
                </a:lnTo>
                <a:lnTo>
                  <a:pt x="767060" y="47030"/>
                </a:lnTo>
                <a:cubicBezTo>
                  <a:pt x="767060" y="36414"/>
                  <a:pt x="768003" y="28526"/>
                  <a:pt x="769888" y="23366"/>
                </a:cubicBezTo>
                <a:cubicBezTo>
                  <a:pt x="772468" y="16421"/>
                  <a:pt x="777007" y="10790"/>
                  <a:pt x="783506" y="6474"/>
                </a:cubicBezTo>
                <a:cubicBezTo>
                  <a:pt x="790005" y="2158"/>
                  <a:pt x="799108" y="0"/>
                  <a:pt x="810816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"/>
              <a:t>Textmasterformat bearbeiten</a:t>
            </a:r>
          </a:p>
          <a:p>
            <a:pPr lvl="1"/>
            <a:r>
              <a:rPr lang="de-DE" sz="100"/>
              <a:t>Zweite Ebene</a:t>
            </a:r>
          </a:p>
          <a:p>
            <a:pPr lvl="2"/>
            <a:r>
              <a:rPr lang="de-DE" sz="100"/>
              <a:t>Dritte Ebene</a:t>
            </a:r>
          </a:p>
          <a:p>
            <a:pPr lvl="3"/>
            <a:r>
              <a:rPr lang="de-DE" sz="100"/>
              <a:t>Vierte Ebene</a:t>
            </a:r>
          </a:p>
          <a:p>
            <a:pPr lvl="4"/>
            <a:r>
              <a:rPr lang="de-DE" sz="100"/>
              <a:t>Fünfte Ebene</a:t>
            </a:r>
            <a:endParaRPr lang="de-DE" sz="100" dirty="0"/>
          </a:p>
        </p:txBody>
      </p:sp>
      <p:sp>
        <p:nvSpPr>
          <p:cNvPr id="5" name="Titelplatzhalter 4"/>
          <p:cNvSpPr>
            <a:spLocks noGrp="1"/>
          </p:cNvSpPr>
          <p:nvPr>
            <p:ph type="title"/>
          </p:nvPr>
        </p:nvSpPr>
        <p:spPr>
          <a:xfrm>
            <a:off x="571575" y="290247"/>
            <a:ext cx="7998470" cy="2776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94068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8" r:id="rId3"/>
    <p:sldLayoutId id="2147483651" r:id="rId4"/>
    <p:sldLayoutId id="2147483654" r:id="rId5"/>
    <p:sldLayoutId id="2147483660" r:id="rId6"/>
    <p:sldLayoutId id="2147483661" r:id="rId7"/>
    <p:sldLayoutId id="2147483659" r:id="rId8"/>
    <p:sldLayoutId id="2147483653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685800" rtl="0" eaLnBrk="1" latinLnBrk="0" hangingPunct="1">
        <a:spcBef>
          <a:spcPct val="0"/>
        </a:spcBef>
        <a:buNone/>
        <a:defRPr sz="1350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3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135000" indent="-135000" algn="l" defTabSz="685800" rtl="0" eaLnBrk="1" latinLnBrk="0" hangingPunct="1">
        <a:lnSpc>
          <a:spcPct val="110000"/>
        </a:lnSpc>
        <a:spcBef>
          <a:spcPts val="0"/>
        </a:spcBef>
        <a:buFontTx/>
        <a:buBlip>
          <a:blip r:embed="rId15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270000" indent="-135000" algn="l" defTabSz="685800" rtl="0" eaLnBrk="1" latinLnBrk="0" hangingPunct="1">
        <a:lnSpc>
          <a:spcPct val="110000"/>
        </a:lnSpc>
        <a:spcBef>
          <a:spcPts val="0"/>
        </a:spcBef>
        <a:buFontTx/>
        <a:buBlip>
          <a:blip r:embed="rId15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405000" indent="-135000" algn="l" defTabSz="685800" rtl="0" eaLnBrk="1" latinLnBrk="0" hangingPunct="1">
        <a:lnSpc>
          <a:spcPct val="110000"/>
        </a:lnSpc>
        <a:spcBef>
          <a:spcPts val="0"/>
        </a:spcBef>
        <a:buFontTx/>
        <a:buBlip>
          <a:blip r:embed="rId15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405000" indent="-135000" algn="l" defTabSz="685800" rtl="0" eaLnBrk="1" latinLnBrk="0" hangingPunct="1">
        <a:lnSpc>
          <a:spcPct val="110000"/>
        </a:lnSpc>
        <a:spcBef>
          <a:spcPts val="0"/>
        </a:spcBef>
        <a:buFontTx/>
        <a:buBlip>
          <a:blip r:embed="rId15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405000" indent="-135000" algn="l" defTabSz="685800" rtl="0" eaLnBrk="1" latinLnBrk="0" hangingPunct="1">
        <a:lnSpc>
          <a:spcPct val="110000"/>
        </a:lnSpc>
        <a:spcBef>
          <a:spcPts val="0"/>
        </a:spcBef>
        <a:buFontTx/>
        <a:buBlip>
          <a:blip r:embed="rId15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405000" indent="-135000" algn="l" defTabSz="685800" rtl="0" eaLnBrk="1" latinLnBrk="0" hangingPunct="1">
        <a:lnSpc>
          <a:spcPct val="110000"/>
        </a:lnSpc>
        <a:spcBef>
          <a:spcPts val="0"/>
        </a:spcBef>
        <a:buFontTx/>
        <a:buBlip>
          <a:blip r:embed="rId15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405000" indent="-135000" algn="l" defTabSz="685800" rtl="0" eaLnBrk="1" latinLnBrk="0" hangingPunct="1">
        <a:lnSpc>
          <a:spcPct val="110000"/>
        </a:lnSpc>
        <a:spcBef>
          <a:spcPts val="0"/>
        </a:spcBef>
        <a:buFontTx/>
        <a:buBlip>
          <a:blip r:embed="rId15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9" userDrawn="1">
          <p15:clr>
            <a:srgbClr val="F26B43"/>
          </p15:clr>
        </p15:guide>
        <p15:guide id="2" pos="362" userDrawn="1">
          <p15:clr>
            <a:srgbClr val="F26B43"/>
          </p15:clr>
        </p15:guide>
        <p15:guide id="3" pos="5400" userDrawn="1">
          <p15:clr>
            <a:srgbClr val="F26B43"/>
          </p15:clr>
        </p15:guide>
        <p15:guide id="4" pos="5029" userDrawn="1">
          <p15:clr>
            <a:srgbClr val="F26B43"/>
          </p15:clr>
        </p15:guide>
        <p15:guide id="5" pos="731" userDrawn="1">
          <p15:clr>
            <a:srgbClr val="F26B43"/>
          </p15:clr>
        </p15:guide>
        <p15:guide id="6" orient="horz" pos="28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03885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solidFill>
            <a:schemeClr val="accent3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solidFill>
            <a:schemeClr val="accent3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ln>
            <a:solidFill>
              <a:schemeClr val="accent3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>
          <a:ln>
            <a:solidFill>
              <a:schemeClr val="accent3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ln>
            <a:solidFill>
              <a:schemeClr val="accent3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INFORMAZIONE COMMERCIALE Dry Liner – CASSE MOBILI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Ralf Ot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 err="1"/>
              <a:t>Stabilimento</a:t>
            </a:r>
            <a:r>
              <a:rPr lang="de-DE" dirty="0"/>
              <a:t> Herzlak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4BADB7DA-55A8-426F-9CE0-F69D4CC99CF9}" type="datetime1">
              <a:rPr lang="de-DE" smtClean="0"/>
              <a:t>04.08.20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8425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1575" y="291655"/>
            <a:ext cx="7995211" cy="276273"/>
          </a:xfrm>
        </p:spPr>
        <p:txBody>
          <a:bodyPr>
            <a:normAutofit fontScale="90000"/>
          </a:bodyPr>
          <a:lstStyle/>
          <a:p>
            <a:r>
              <a:rPr lang="de-DE" dirty="0"/>
              <a:t>AGGIORNAMENTO DELLA NORMATIVA EN 12640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4"/>
          </p:nvPr>
        </p:nvSpPr>
        <p:spPr>
          <a:xfrm>
            <a:off x="7424670" y="4728568"/>
            <a:ext cx="634211" cy="136921"/>
          </a:xfrm>
        </p:spPr>
        <p:txBody>
          <a:bodyPr/>
          <a:lstStyle/>
          <a:p>
            <a:fld id="{AF6D56F3-C1CD-4C4F-BE7D-E5565B30760E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5"/>
          </p:nvPr>
        </p:nvSpPr>
        <p:spPr>
          <a:xfrm>
            <a:off x="576000" y="4723200"/>
            <a:ext cx="4641166" cy="139385"/>
          </a:xfrm>
        </p:spPr>
        <p:txBody>
          <a:bodyPr/>
          <a:lstStyle/>
          <a:p>
            <a:r>
              <a:rPr lang="de-DE" dirty="0"/>
              <a:t>&lt;Änderung der Norm EN 12640&gt; I &lt;RO&gt;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>
          <a:xfrm>
            <a:off x="7955776" y="4726104"/>
            <a:ext cx="374155" cy="139385"/>
          </a:xfrm>
        </p:spPr>
        <p:txBody>
          <a:bodyPr/>
          <a:lstStyle/>
          <a:p>
            <a:fld id="{6887D4EB-4CF4-4464-BEBC-974C839A04E8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9B7B502F-13B6-4E9B-AEE7-0E44D1BFBE6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89850" y="953689"/>
            <a:ext cx="709750" cy="3531600"/>
          </a:xfrm>
        </p:spPr>
        <p:txBody>
          <a:bodyPr/>
          <a:lstStyle/>
          <a:p>
            <a:r>
              <a:rPr lang="de-DE" dirty="0"/>
              <a:t>               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7F6DB915-8E4C-43FF-B419-0074E569CD86}"/>
              </a:ext>
            </a:extLst>
          </p:cNvPr>
          <p:cNvSpPr txBox="1"/>
          <p:nvPr/>
        </p:nvSpPr>
        <p:spPr bwMode="gray">
          <a:xfrm>
            <a:off x="1316409" y="513069"/>
            <a:ext cx="8069883" cy="4478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  <a:p>
            <a:endParaRPr lang="de-DE" sz="10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xmlns="" id="{C2FA75AD-ADED-4BA6-B008-5DC3A62723DE}"/>
              </a:ext>
            </a:extLst>
          </p:cNvPr>
          <p:cNvSpPr txBox="1"/>
          <p:nvPr/>
        </p:nvSpPr>
        <p:spPr bwMode="gray">
          <a:xfrm>
            <a:off x="411829" y="2647962"/>
            <a:ext cx="7543947" cy="388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xmlns="" id="{627D96E2-48F1-44D4-937B-1773F733CCF9}"/>
              </a:ext>
            </a:extLst>
          </p:cNvPr>
          <p:cNvSpPr txBox="1"/>
          <p:nvPr/>
        </p:nvSpPr>
        <p:spPr bwMode="gray">
          <a:xfrm>
            <a:off x="557154" y="513069"/>
            <a:ext cx="7990785" cy="41552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000" dirty="0">
              <a:effectLst/>
              <a:ea typeface="Calibri" panose="020F0502020204030204" pitchFamily="34" charset="0"/>
            </a:endParaRPr>
          </a:p>
          <a:p>
            <a:r>
              <a:rPr lang="it-IT" sz="1000" b="1" dirty="0">
                <a:effectLst/>
                <a:ea typeface="Calibri" panose="020F0502020204030204" pitchFamily="34" charset="0"/>
              </a:rPr>
              <a:t>Sui Dry Liner </a:t>
            </a:r>
            <a:r>
              <a:rPr lang="it-IT" sz="1000" b="1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e le casse mobili nella configurazione </a:t>
            </a:r>
            <a:r>
              <a:rPr lang="it-IT" sz="1000" b="1" dirty="0">
                <a:effectLst/>
                <a:ea typeface="Calibri" panose="020F0502020204030204" pitchFamily="34" charset="0"/>
              </a:rPr>
              <a:t>LI</a:t>
            </a:r>
            <a:r>
              <a:rPr lang="it-IT" sz="1000" b="1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-</a:t>
            </a:r>
            <a:r>
              <a:rPr lang="it-IT" sz="1000" b="1" dirty="0">
                <a:effectLst/>
                <a:ea typeface="Calibri" panose="020F0502020204030204" pitchFamily="34" charset="0"/>
              </a:rPr>
              <a:t>, STP</a:t>
            </a:r>
            <a:r>
              <a:rPr lang="it-IT" sz="1000" b="1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-</a:t>
            </a:r>
            <a:r>
              <a:rPr lang="it-IT" sz="1000" b="1" dirty="0">
                <a:effectLst/>
                <a:ea typeface="Calibri" panose="020F0502020204030204" pitchFamily="34" charset="0"/>
              </a:rPr>
              <a:t> e STK, così come sulle casse </a:t>
            </a:r>
            <a:r>
              <a:rPr lang="it-IT" sz="1000" b="1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STG senza il nido d‘ape</a:t>
            </a:r>
          </a:p>
          <a:p>
            <a:r>
              <a:rPr lang="it-IT" sz="1000" b="1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(Es. con il rivestimento interno in legno), è attivo un ulteriore adattamento in combinazione con il</a:t>
            </a:r>
          </a:p>
          <a:p>
            <a:r>
              <a:rPr lang="it-IT" sz="1000" b="1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„certificato di sicurezza in base alla Direttiva </a:t>
            </a:r>
            <a:r>
              <a:rPr lang="it-IT" sz="1000" b="1" dirty="0">
                <a:effectLst/>
                <a:ea typeface="Calibri" panose="020F0502020204030204" pitchFamily="34" charset="0"/>
              </a:rPr>
              <a:t>Daimler 9.5“.</a:t>
            </a:r>
          </a:p>
          <a:p>
            <a:endParaRPr lang="it-IT" sz="1000" dirty="0">
              <a:effectLst/>
              <a:ea typeface="Calibri" panose="020F0502020204030204" pitchFamily="34" charset="0"/>
            </a:endParaRPr>
          </a:p>
          <a:p>
            <a:r>
              <a:rPr lang="it-IT" sz="1000" b="1" dirty="0">
                <a:effectLst/>
                <a:ea typeface="Calibri" panose="020F0502020204030204" pitchFamily="34" charset="0"/>
              </a:rPr>
              <a:t>Per le configurazioni summenzionate e nella richiesta di idoneità alla Daimler 9.5, sono preimpostate le seguenti forniture in merito alla sicurezza del carico:</a:t>
            </a:r>
          </a:p>
          <a:p>
            <a:endParaRPr lang="it-IT" sz="1000" b="1" dirty="0">
              <a:ea typeface="Calibri" panose="020F050202020403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-"/>
            </a:pPr>
            <a:r>
              <a:rPr lang="it-IT" sz="1000" dirty="0">
                <a:effectLst/>
                <a:ea typeface="Times New Roman" panose="02020603050405020304" pitchFamily="18" charset="0"/>
              </a:rPr>
              <a:t>Obbligatoria 1 fascia ferma carico con 13 paia di anelli ferma carico nel pianale, oppure</a:t>
            </a:r>
            <a:endParaRPr lang="it-IT" sz="10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-"/>
            </a:pPr>
            <a:r>
              <a:rPr lang="it-IT" sz="1000" dirty="0">
                <a:effectLst/>
                <a:ea typeface="Times New Roman" panose="02020603050405020304" pitchFamily="18" charset="0"/>
              </a:rPr>
              <a:t>1 </a:t>
            </a:r>
            <a:r>
              <a:rPr lang="it-IT" sz="1000" dirty="0">
                <a:ea typeface="Times New Roman" panose="02020603050405020304" pitchFamily="18" charset="0"/>
              </a:rPr>
              <a:t>fascia ferma carico in </a:t>
            </a:r>
            <a:r>
              <a:rPr lang="it-IT" sz="1000" dirty="0">
                <a:effectLst/>
                <a:ea typeface="Times New Roman" panose="02020603050405020304" pitchFamily="18" charset="0"/>
              </a:rPr>
              <a:t>combinazione con il doppio piano di carico (gli anelli nel pianale non sono obbligatori), oppure</a:t>
            </a:r>
            <a:endParaRPr lang="it-IT" sz="10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-"/>
            </a:pPr>
            <a:r>
              <a:rPr lang="it-IT" sz="1000" dirty="0">
                <a:effectLst/>
                <a:ea typeface="Times New Roman" panose="02020603050405020304" pitchFamily="18" charset="0"/>
              </a:rPr>
              <a:t>Almeno 2 fasce ferma carico</a:t>
            </a:r>
            <a:endParaRPr lang="it-IT" sz="1000" dirty="0">
              <a:effectLst/>
              <a:ea typeface="Calibri" panose="020F0502020204030204" pitchFamily="34" charset="0"/>
            </a:endParaRPr>
          </a:p>
          <a:p>
            <a:endParaRPr lang="it-IT" sz="1000" dirty="0">
              <a:effectLst/>
              <a:ea typeface="Calibri" panose="020F0502020204030204" pitchFamily="34" charset="0"/>
            </a:endParaRPr>
          </a:p>
          <a:p>
            <a:r>
              <a:rPr lang="de-DE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de-DE" sz="1000" dirty="0">
              <a:effectLst/>
              <a:ea typeface="Calibri" panose="020F0502020204030204" pitchFamily="34" charset="0"/>
            </a:endParaRPr>
          </a:p>
          <a:p>
            <a:r>
              <a:rPr lang="de-DE" sz="10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de-DE" sz="1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3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1575" y="291655"/>
            <a:ext cx="7995211" cy="276273"/>
          </a:xfrm>
        </p:spPr>
        <p:txBody>
          <a:bodyPr>
            <a:normAutofit fontScale="90000"/>
          </a:bodyPr>
          <a:lstStyle/>
          <a:p>
            <a:r>
              <a:rPr lang="de-DE" dirty="0"/>
              <a:t>AGGIORNAMENTO DELLA NORMATIVA EN 12640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4"/>
          </p:nvPr>
        </p:nvSpPr>
        <p:spPr>
          <a:xfrm>
            <a:off x="7424670" y="4728568"/>
            <a:ext cx="634211" cy="136921"/>
          </a:xfrm>
        </p:spPr>
        <p:txBody>
          <a:bodyPr/>
          <a:lstStyle/>
          <a:p>
            <a:fld id="{AF6D56F3-C1CD-4C4F-BE7D-E5565B30760E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5"/>
          </p:nvPr>
        </p:nvSpPr>
        <p:spPr>
          <a:xfrm>
            <a:off x="576000" y="4723200"/>
            <a:ext cx="4641166" cy="139385"/>
          </a:xfrm>
        </p:spPr>
        <p:txBody>
          <a:bodyPr/>
          <a:lstStyle/>
          <a:p>
            <a:r>
              <a:rPr lang="de-DE" dirty="0"/>
              <a:t>&lt;Änderung der Norm EN 12640&gt; I &lt;RO&gt;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>
          <a:xfrm>
            <a:off x="7955776" y="4726104"/>
            <a:ext cx="374155" cy="139385"/>
          </a:xfrm>
        </p:spPr>
        <p:txBody>
          <a:bodyPr/>
          <a:lstStyle/>
          <a:p>
            <a:fld id="{6887D4EB-4CF4-4464-BEBC-974C839A04E8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9B7B502F-13B6-4E9B-AEE7-0E44D1BFBE6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89850" y="953689"/>
            <a:ext cx="709750" cy="3531600"/>
          </a:xfrm>
        </p:spPr>
        <p:txBody>
          <a:bodyPr/>
          <a:lstStyle/>
          <a:p>
            <a:r>
              <a:rPr lang="de-DE" dirty="0"/>
              <a:t>               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7F6DB915-8E4C-43FF-B419-0074E569CD86}"/>
              </a:ext>
            </a:extLst>
          </p:cNvPr>
          <p:cNvSpPr txBox="1"/>
          <p:nvPr/>
        </p:nvSpPr>
        <p:spPr bwMode="gray">
          <a:xfrm>
            <a:off x="1316409" y="513069"/>
            <a:ext cx="8069883" cy="4478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  <a:p>
            <a:endParaRPr lang="de-DE" sz="10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xmlns="" id="{C2FA75AD-ADED-4BA6-B008-5DC3A62723DE}"/>
              </a:ext>
            </a:extLst>
          </p:cNvPr>
          <p:cNvSpPr txBox="1"/>
          <p:nvPr/>
        </p:nvSpPr>
        <p:spPr bwMode="gray">
          <a:xfrm>
            <a:off x="411829" y="2647962"/>
            <a:ext cx="7543947" cy="388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xmlns="" id="{7E66F53A-C677-4F23-8DE2-1DD2266A16D4}"/>
              </a:ext>
            </a:extLst>
          </p:cNvPr>
          <p:cNvSpPr txBox="1"/>
          <p:nvPr/>
        </p:nvSpPr>
        <p:spPr bwMode="gray">
          <a:xfrm>
            <a:off x="576000" y="539057"/>
            <a:ext cx="7990786" cy="406250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it-IT" sz="1000" b="1" dirty="0">
              <a:effectLst/>
              <a:ea typeface="Calibri" panose="020F0502020204030204" pitchFamily="34" charset="0"/>
            </a:endParaRPr>
          </a:p>
          <a:p>
            <a:r>
              <a:rPr lang="it-IT" sz="1000" b="1" dirty="0">
                <a:effectLst/>
                <a:ea typeface="Calibri" panose="020F0502020204030204" pitchFamily="34" charset="0"/>
              </a:rPr>
              <a:t>Sulla modifica della EN 12640:</a:t>
            </a:r>
            <a:endParaRPr lang="it-IT" sz="1000" dirty="0">
              <a:effectLst/>
              <a:ea typeface="Calibri" panose="020F0502020204030204" pitchFamily="34" charset="0"/>
            </a:endParaRPr>
          </a:p>
          <a:p>
            <a:r>
              <a:rPr lang="it-IT" sz="1000" dirty="0">
                <a:effectLst/>
                <a:ea typeface="Calibri" panose="020F0502020204030204" pitchFamily="34" charset="0"/>
              </a:rPr>
              <a:t> </a:t>
            </a:r>
          </a:p>
          <a:p>
            <a:r>
              <a:rPr lang="it-IT" sz="1000" dirty="0">
                <a:effectLst/>
                <a:ea typeface="Calibri" panose="020F0502020204030204" pitchFamily="34" charset="0"/>
              </a:rPr>
              <a:t>La normativa EN12640 ha recentemente specificato che i veicoli commerciali devono avere un determinato numero di anelli </a:t>
            </a:r>
            <a:r>
              <a:rPr lang="it-IT" sz="1000" dirty="0" err="1">
                <a:effectLst/>
                <a:ea typeface="Calibri" panose="020F0502020204030204" pitchFamily="34" charset="0"/>
              </a:rPr>
              <a:t>ferma</a:t>
            </a:r>
            <a:r>
              <a:rPr lang="it-IT" sz="1000" dirty="0" err="1">
                <a:ea typeface="Calibri" panose="020F0502020204030204" pitchFamily="34" charset="0"/>
              </a:rPr>
              <a:t>carico</a:t>
            </a:r>
            <a:r>
              <a:rPr lang="it-IT" sz="1000" dirty="0">
                <a:ea typeface="Calibri" panose="020F0502020204030204" pitchFamily="34" charset="0"/>
              </a:rPr>
              <a:t>. </a:t>
            </a:r>
            <a:endParaRPr lang="it-IT" sz="1000" dirty="0">
              <a:effectLst/>
              <a:ea typeface="Calibri" panose="020F0502020204030204" pitchFamily="34" charset="0"/>
            </a:endParaRPr>
          </a:p>
          <a:p>
            <a:endParaRPr lang="it-IT" sz="1000" dirty="0">
              <a:effectLst/>
              <a:ea typeface="Calibri" panose="020F0502020204030204" pitchFamily="34" charset="0"/>
            </a:endParaRPr>
          </a:p>
          <a:p>
            <a:r>
              <a:rPr lang="it-IT" sz="1000" dirty="0">
                <a:effectLst/>
                <a:ea typeface="Calibri" panose="020F0502020204030204" pitchFamily="34" charset="0"/>
              </a:rPr>
              <a:t>Unica eccezione a questa regola</a:t>
            </a:r>
            <a:r>
              <a:rPr lang="it-IT" sz="1000" dirty="0">
                <a:ea typeface="Calibri" panose="020F0502020204030204" pitchFamily="34" charset="0"/>
              </a:rPr>
              <a:t> si applica su</a:t>
            </a:r>
            <a:endParaRPr lang="it-IT" sz="1000" dirty="0">
              <a:effectLst/>
              <a:ea typeface="Calibri" panose="020F0502020204030204" pitchFamily="34" charset="0"/>
            </a:endParaRPr>
          </a:p>
          <a:p>
            <a:r>
              <a:rPr lang="it-IT" sz="1000" dirty="0">
                <a:effectLst/>
                <a:ea typeface="Calibri" panose="020F0502020204030204" pitchFamily="34" charset="0"/>
              </a:rPr>
              <a:t>  </a:t>
            </a:r>
          </a:p>
          <a:p>
            <a:r>
              <a:rPr lang="it-IT" sz="1000" i="1" dirty="0"/>
              <a:t>I veicoli e le unità intermodali che, per la loro tipologia di costruzione ed equipaggiamento, sono preposti per il trasporto di beni particolari</a:t>
            </a:r>
          </a:p>
          <a:p>
            <a:r>
              <a:rPr lang="it-IT" sz="1000" i="1" dirty="0"/>
              <a:t>con esigenze specifiche per la sicurezza del carico</a:t>
            </a:r>
            <a:endParaRPr lang="it-IT" sz="1000" dirty="0">
              <a:effectLst/>
              <a:ea typeface="Calibri" panose="020F0502020204030204" pitchFamily="34" charset="0"/>
            </a:endParaRPr>
          </a:p>
          <a:p>
            <a:endParaRPr lang="it-IT" sz="1000" dirty="0">
              <a:ea typeface="Calibri" panose="020F0502020204030204" pitchFamily="34" charset="0"/>
            </a:endParaRPr>
          </a:p>
          <a:p>
            <a:endParaRPr lang="it-IT" sz="1000" dirty="0">
              <a:effectLst/>
              <a:ea typeface="Calibri" panose="020F0502020204030204" pitchFamily="34" charset="0"/>
            </a:endParaRPr>
          </a:p>
          <a:p>
            <a:r>
              <a:rPr lang="it-IT" sz="1000" dirty="0">
                <a:effectLst/>
                <a:ea typeface="Calibri" panose="020F0502020204030204" pitchFamily="34" charset="0"/>
              </a:rPr>
              <a:t>Ossia: non sono interessati da questa normativa i veicoli commerciali per merci che non vengono assicurate con gli anelli ferma carico .  </a:t>
            </a:r>
          </a:p>
          <a:p>
            <a:endParaRPr lang="it-IT" sz="1000" dirty="0">
              <a:effectLst/>
              <a:ea typeface="Calibri" panose="020F0502020204030204" pitchFamily="34" charset="0"/>
            </a:endParaRPr>
          </a:p>
          <a:p>
            <a:r>
              <a:rPr lang="it-IT" sz="1000" dirty="0">
                <a:effectLst/>
                <a:ea typeface="Calibri" panose="020F0502020204030204" pitchFamily="34" charset="0"/>
              </a:rPr>
              <a:t>Es. Trasporto di pacchetti, piccoli colli -&gt; sono assicurati con le reti</a:t>
            </a:r>
          </a:p>
          <a:p>
            <a:endParaRPr lang="it-IT" sz="1000" dirty="0">
              <a:effectLst/>
              <a:ea typeface="Calibri" panose="020F0502020204030204" pitchFamily="34" charset="0"/>
            </a:endParaRPr>
          </a:p>
          <a:p>
            <a:r>
              <a:rPr lang="it-IT" sz="1000" dirty="0">
                <a:effectLst/>
                <a:ea typeface="Calibri" panose="020F0502020204030204" pitchFamily="34" charset="0"/>
              </a:rPr>
              <a:t>      Trasporto di capi di abbigliamento -&gt;  trasporto a mezzo barre appendiabiti</a:t>
            </a:r>
          </a:p>
          <a:p>
            <a:r>
              <a:rPr lang="it-IT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it-IT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de-DE" sz="1000" dirty="0">
              <a:effectLst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350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1575" y="291655"/>
            <a:ext cx="7995211" cy="276273"/>
          </a:xfrm>
        </p:spPr>
        <p:txBody>
          <a:bodyPr>
            <a:normAutofit fontScale="90000"/>
          </a:bodyPr>
          <a:lstStyle/>
          <a:p>
            <a:r>
              <a:rPr lang="de-DE" dirty="0"/>
              <a:t>FINESTRA AL TETTO Dry Liner – CASSE MOBILI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4"/>
          </p:nvPr>
        </p:nvSpPr>
        <p:spPr>
          <a:xfrm>
            <a:off x="7424670" y="4728568"/>
            <a:ext cx="634211" cy="136921"/>
          </a:xfrm>
        </p:spPr>
        <p:txBody>
          <a:bodyPr/>
          <a:lstStyle/>
          <a:p>
            <a:fld id="{AF6D56F3-C1CD-4C4F-BE7D-E5565B30760E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5"/>
          </p:nvPr>
        </p:nvSpPr>
        <p:spPr>
          <a:xfrm>
            <a:off x="576000" y="4723200"/>
            <a:ext cx="4641166" cy="139385"/>
          </a:xfrm>
        </p:spPr>
        <p:txBody>
          <a:bodyPr/>
          <a:lstStyle/>
          <a:p>
            <a:r>
              <a:rPr lang="de-DE" dirty="0"/>
              <a:t>&lt;Lichtfenster Dry Liner - Wechselkoffer&gt; I &lt;RO&gt;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>
          <a:xfrm>
            <a:off x="7955776" y="4726104"/>
            <a:ext cx="374155" cy="139385"/>
          </a:xfrm>
        </p:spPr>
        <p:txBody>
          <a:bodyPr/>
          <a:lstStyle/>
          <a:p>
            <a:fld id="{6887D4EB-4CF4-4464-BEBC-974C839A04E8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9B7B502F-13B6-4E9B-AEE7-0E44D1BFBE6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89850" y="953689"/>
            <a:ext cx="709750" cy="3531600"/>
          </a:xfrm>
        </p:spPr>
        <p:txBody>
          <a:bodyPr/>
          <a:lstStyle/>
          <a:p>
            <a:r>
              <a:rPr lang="de-DE" dirty="0"/>
              <a:t>               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7F6DB915-8E4C-43FF-B419-0074E569CD86}"/>
              </a:ext>
            </a:extLst>
          </p:cNvPr>
          <p:cNvSpPr txBox="1"/>
          <p:nvPr/>
        </p:nvSpPr>
        <p:spPr bwMode="gray">
          <a:xfrm>
            <a:off x="571575" y="567928"/>
            <a:ext cx="7995211" cy="9612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  <a:p>
            <a:r>
              <a:rPr lang="it-IT" sz="1000" dirty="0">
                <a:effectLst/>
                <a:ea typeface="Calibri" panose="020F0502020204030204" pitchFamily="34" charset="0"/>
              </a:rPr>
              <a:t>Da subito </a:t>
            </a:r>
            <a:r>
              <a:rPr lang="it-IT" sz="1000" dirty="0">
                <a:ea typeface="Calibri" panose="020F0502020204030204" pitchFamily="34" charset="0"/>
              </a:rPr>
              <a:t>è disponibile sulle casse mobili e sui Dry Liner, </a:t>
            </a:r>
            <a:r>
              <a:rPr lang="it-IT" sz="1000" dirty="0">
                <a:effectLst/>
                <a:ea typeface="Calibri" panose="020F0502020204030204" pitchFamily="34" charset="0"/>
              </a:rPr>
              <a:t>in combinazione con il tetto in ferro, una nuova versione di finestra.</a:t>
            </a:r>
          </a:p>
          <a:p>
            <a:r>
              <a:rPr lang="it-IT" sz="1000" dirty="0">
                <a:effectLst/>
                <a:ea typeface="Calibri" panose="020F0502020204030204" pitchFamily="34" charset="0"/>
              </a:rPr>
              <a:t>Rispetto alla vecchia versione</a:t>
            </a:r>
            <a:r>
              <a:rPr lang="it-IT" sz="1000" dirty="0">
                <a:ea typeface="Calibri" panose="020F0502020204030204" pitchFamily="34" charset="0"/>
              </a:rPr>
              <a:t> che aveva una piccola apertura </a:t>
            </a:r>
            <a:r>
              <a:rPr lang="it-IT" sz="1000" dirty="0">
                <a:effectLst/>
                <a:ea typeface="Calibri" panose="020F0502020204030204" pitchFamily="34" charset="0"/>
              </a:rPr>
              <a:t>(500x500 mm e 700x1400 mm) viene ora montata un‘apertura che occupa </a:t>
            </a:r>
          </a:p>
          <a:p>
            <a:r>
              <a:rPr lang="it-IT" sz="1000" dirty="0">
                <a:effectLst/>
                <a:ea typeface="Calibri" panose="020F0502020204030204" pitchFamily="34" charset="0"/>
              </a:rPr>
              <a:t>tutta la larghezza della superficie di carico. </a:t>
            </a:r>
            <a:r>
              <a:rPr lang="it-IT" sz="1000" dirty="0">
                <a:ea typeface="Calibri" panose="020F0502020204030204" pitchFamily="34" charset="0"/>
              </a:rPr>
              <a:t>La finestra nella nuova versione </a:t>
            </a:r>
            <a:r>
              <a:rPr lang="it-IT" sz="1000" dirty="0">
                <a:effectLst/>
                <a:ea typeface="Calibri" panose="020F0502020204030204" pitchFamily="34" charset="0"/>
              </a:rPr>
              <a:t>sostituisce una lamiera del tetto e ha una superficie trasparente di</a:t>
            </a:r>
          </a:p>
          <a:p>
            <a:r>
              <a:rPr lang="it-IT" sz="1000" dirty="0">
                <a:effectLst/>
                <a:ea typeface="Calibri" panose="020F0502020204030204" pitchFamily="34" charset="0"/>
              </a:rPr>
              <a:t>2,25 m² rispetto agli 0,25 m² della versione precedente nelle dimensioni 500x500 mm. Sui Dry Liner </a:t>
            </a:r>
            <a:r>
              <a:rPr lang="it-IT" sz="1000" dirty="0">
                <a:ea typeface="Calibri" panose="020F0502020204030204" pitchFamily="34" charset="0"/>
              </a:rPr>
              <a:t>è possibile selezionare 2 finestre al tetto</a:t>
            </a:r>
            <a:endParaRPr lang="it-IT" sz="1000" dirty="0">
              <a:effectLst/>
              <a:ea typeface="Calibri" panose="020F0502020204030204" pitchFamily="34" charset="0"/>
            </a:endParaRPr>
          </a:p>
          <a:p>
            <a:r>
              <a:rPr lang="it-IT" sz="1000" dirty="0">
                <a:effectLst/>
                <a:ea typeface="Calibri" panose="020F0502020204030204" pitchFamily="34" charset="0"/>
              </a:rPr>
              <a:t>(nel</a:t>
            </a:r>
            <a:r>
              <a:rPr lang="it-IT" sz="1000" dirty="0">
                <a:ea typeface="Calibri" panose="020F0502020204030204" pitchFamily="34" charset="0"/>
              </a:rPr>
              <a:t> primo terzo del vano e nella parte </a:t>
            </a:r>
            <a:r>
              <a:rPr lang="it-IT" sz="1000" dirty="0">
                <a:effectLst/>
                <a:ea typeface="Calibri" panose="020F0502020204030204" pitchFamily="34" charset="0"/>
              </a:rPr>
              <a:t>centrale). Sulle casse mobili</a:t>
            </a:r>
            <a:r>
              <a:rPr lang="it-IT" sz="1000" dirty="0">
                <a:ea typeface="Calibri" panose="020F0502020204030204" pitchFamily="34" charset="0"/>
              </a:rPr>
              <a:t>, invece, è sufficiente un‘unica apertura nel primo terzo del vano</a:t>
            </a:r>
            <a:r>
              <a:rPr lang="it-IT" sz="1000" dirty="0">
                <a:effectLst/>
                <a:ea typeface="Calibri" panose="020F0502020204030204" pitchFamily="34" charset="0"/>
              </a:rPr>
              <a:t>. </a:t>
            </a:r>
          </a:p>
          <a:p>
            <a:endParaRPr lang="de-DE" sz="1000" dirty="0"/>
          </a:p>
        </p:txBody>
      </p:sp>
      <p:pic>
        <p:nvPicPr>
          <p:cNvPr id="12" name="Grafik 11" descr="Ein Bild, das Gebäude, drinnen enthält.&#10;&#10;Automatisch generierte Beschreibung">
            <a:extLst>
              <a:ext uri="{FF2B5EF4-FFF2-40B4-BE49-F238E27FC236}">
                <a16:creationId xmlns:a16="http://schemas.microsoft.com/office/drawing/2014/main" xmlns="" id="{F181D5E6-EA37-46DC-8C98-3BD29DC885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5553" y="1686668"/>
            <a:ext cx="3407648" cy="269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812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1575" y="291655"/>
            <a:ext cx="7995211" cy="276273"/>
          </a:xfrm>
        </p:spPr>
        <p:txBody>
          <a:bodyPr>
            <a:normAutofit fontScale="90000"/>
          </a:bodyPr>
          <a:lstStyle/>
          <a:p>
            <a:r>
              <a:rPr lang="de-DE" dirty="0"/>
              <a:t>FINESTRE AL TETTO Dry Lin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4"/>
          </p:nvPr>
        </p:nvSpPr>
        <p:spPr>
          <a:xfrm>
            <a:off x="7424670" y="4728568"/>
            <a:ext cx="634211" cy="136921"/>
          </a:xfrm>
        </p:spPr>
        <p:txBody>
          <a:bodyPr/>
          <a:lstStyle/>
          <a:p>
            <a:fld id="{AF6D56F3-C1CD-4C4F-BE7D-E5565B30760E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5"/>
          </p:nvPr>
        </p:nvSpPr>
        <p:spPr>
          <a:xfrm>
            <a:off x="576000" y="4723200"/>
            <a:ext cx="4641166" cy="139385"/>
          </a:xfrm>
        </p:spPr>
        <p:txBody>
          <a:bodyPr/>
          <a:lstStyle/>
          <a:p>
            <a:r>
              <a:rPr lang="de-DE" dirty="0"/>
              <a:t>&lt;Lichtfenster Dry Liner&gt; I &lt;RO&gt;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>
          <a:xfrm>
            <a:off x="7955776" y="4726104"/>
            <a:ext cx="374155" cy="139385"/>
          </a:xfrm>
        </p:spPr>
        <p:txBody>
          <a:bodyPr/>
          <a:lstStyle/>
          <a:p>
            <a:fld id="{6887D4EB-4CF4-4464-BEBC-974C839A04E8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9B7B502F-13B6-4E9B-AEE7-0E44D1BFBE6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89850" y="953689"/>
            <a:ext cx="709750" cy="3531600"/>
          </a:xfrm>
        </p:spPr>
        <p:txBody>
          <a:bodyPr/>
          <a:lstStyle/>
          <a:p>
            <a:r>
              <a:rPr lang="de-DE" dirty="0"/>
              <a:t>               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xmlns="" id="{757F400B-8B33-4365-98B0-7EC35379E3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141" y="1015743"/>
            <a:ext cx="8069883" cy="1572564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xmlns="" id="{7917710F-57A0-42CF-930B-1435FA9B4A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141" y="3036122"/>
            <a:ext cx="6582281" cy="1551884"/>
          </a:xfrm>
          <a:prstGeom prst="rect">
            <a:avLst/>
          </a:prstGeom>
        </p:spPr>
      </p:pic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7F6DB915-8E4C-43FF-B419-0074E569CD86}"/>
              </a:ext>
            </a:extLst>
          </p:cNvPr>
          <p:cNvSpPr txBox="1"/>
          <p:nvPr/>
        </p:nvSpPr>
        <p:spPr bwMode="gray">
          <a:xfrm>
            <a:off x="411829" y="567928"/>
            <a:ext cx="8069883" cy="4478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  <a:p>
            <a:endParaRPr lang="de-DE" sz="1000" dirty="0"/>
          </a:p>
          <a:p>
            <a:r>
              <a:rPr lang="it-IT" sz="1000" dirty="0"/>
              <a:t>Dry Liner da 13,6 m di lunghezza (</a:t>
            </a:r>
            <a:r>
              <a:rPr lang="it-IT" sz="1000" b="0" i="0" u="none" strike="noStrike" baseline="0" dirty="0">
                <a:latin typeface="Arial" panose="020B0604020202020204" pitchFamily="34" charset="0"/>
              </a:rPr>
              <a:t>2 aperture: 1 nel primo terzo, l‘altra centrale, ciascuna per tutta la larghezza)</a:t>
            </a:r>
            <a:endParaRPr lang="it-IT" sz="10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xmlns="" id="{C2FA75AD-ADED-4BA6-B008-5DC3A62723DE}"/>
              </a:ext>
            </a:extLst>
          </p:cNvPr>
          <p:cNvSpPr txBox="1"/>
          <p:nvPr/>
        </p:nvSpPr>
        <p:spPr bwMode="gray">
          <a:xfrm>
            <a:off x="411828" y="2647962"/>
            <a:ext cx="7543947" cy="388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  <a:p>
            <a:r>
              <a:rPr lang="de-DE" sz="1000" dirty="0"/>
              <a:t>Dry Liner da 11 m di </a:t>
            </a:r>
            <a:r>
              <a:rPr lang="de-DE" sz="1000" dirty="0" err="1"/>
              <a:t>lunghezza</a:t>
            </a:r>
            <a:r>
              <a:rPr lang="de-DE" sz="1000" dirty="0"/>
              <a:t> (</a:t>
            </a:r>
            <a:r>
              <a:rPr lang="de-DE" sz="1000" b="0" i="0" u="none" strike="noStrike" baseline="0" dirty="0">
                <a:latin typeface="Arial" panose="020B0604020202020204" pitchFamily="34" charset="0"/>
              </a:rPr>
              <a:t>2 </a:t>
            </a:r>
            <a:r>
              <a:rPr lang="de-DE" sz="1000" b="0" i="0" u="none" strike="noStrike" baseline="0" dirty="0" err="1">
                <a:latin typeface="Arial" panose="020B0604020202020204" pitchFamily="34" charset="0"/>
              </a:rPr>
              <a:t>aperture</a:t>
            </a:r>
            <a:r>
              <a:rPr lang="de-DE" sz="1000" b="0" i="0" u="none" strike="noStrike" baseline="0" dirty="0">
                <a:latin typeface="Arial" panose="020B0604020202020204" pitchFamily="34" charset="0"/>
              </a:rPr>
              <a:t>, </a:t>
            </a:r>
            <a:r>
              <a:rPr lang="de-DE" sz="1000" b="0" i="0" u="none" strike="noStrike" baseline="0" dirty="0" err="1">
                <a:latin typeface="Arial" panose="020B0604020202020204" pitchFamily="34" charset="0"/>
              </a:rPr>
              <a:t>ciascuna</a:t>
            </a:r>
            <a:r>
              <a:rPr lang="de-DE" sz="1000" b="0" i="0" u="none" strike="noStrike" baseline="0" dirty="0">
                <a:latin typeface="Arial" panose="020B0604020202020204" pitchFamily="34" charset="0"/>
              </a:rPr>
              <a:t> per </a:t>
            </a:r>
            <a:r>
              <a:rPr lang="de-DE" sz="1000" b="0" i="0" u="none" strike="noStrike" baseline="0" dirty="0" err="1">
                <a:latin typeface="Arial" panose="020B0604020202020204" pitchFamily="34" charset="0"/>
              </a:rPr>
              <a:t>tutta</a:t>
            </a:r>
            <a:r>
              <a:rPr lang="de-DE" sz="1000" b="0" i="0" u="none" strike="noStrike" baseline="0" dirty="0">
                <a:latin typeface="Arial" panose="020B0604020202020204" pitchFamily="34" charset="0"/>
              </a:rPr>
              <a:t> la </a:t>
            </a:r>
            <a:r>
              <a:rPr lang="de-DE" sz="1000" b="0" i="0" u="none" strike="noStrike" baseline="0" dirty="0" err="1">
                <a:latin typeface="Arial" panose="020B0604020202020204" pitchFamily="34" charset="0"/>
              </a:rPr>
              <a:t>larghezza</a:t>
            </a:r>
            <a:r>
              <a:rPr lang="de-DE" sz="1000" b="0" i="0" u="none" strike="noStrike" baseline="0" dirty="0">
                <a:latin typeface="Arial" panose="020B0604020202020204" pitchFamily="34" charset="0"/>
              </a:rPr>
              <a:t>)</a:t>
            </a:r>
            <a:endParaRPr lang="de-DE" sz="1000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xmlns="" id="{9DCA834E-E99F-4E66-9ADD-8EEE9BA3EB74}"/>
              </a:ext>
            </a:extLst>
          </p:cNvPr>
          <p:cNvSpPr txBox="1"/>
          <p:nvPr/>
        </p:nvSpPr>
        <p:spPr bwMode="gray">
          <a:xfrm>
            <a:off x="202424" y="1514693"/>
            <a:ext cx="159717" cy="8515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800" dirty="0"/>
              <a:t>V</a:t>
            </a:r>
          </a:p>
          <a:p>
            <a:r>
              <a:rPr lang="de-DE" sz="800" dirty="0"/>
              <a:t>O</a:t>
            </a:r>
          </a:p>
          <a:p>
            <a:r>
              <a:rPr lang="de-DE" sz="800" dirty="0"/>
              <a:t>R</a:t>
            </a:r>
          </a:p>
          <a:p>
            <a:r>
              <a:rPr lang="de-DE" sz="800" dirty="0"/>
              <a:t>N</a:t>
            </a:r>
          </a:p>
          <a:p>
            <a:r>
              <a:rPr lang="de-DE" sz="800" dirty="0"/>
              <a:t>E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xmlns="" id="{6E57283E-860B-45D8-AC36-E9BE7F5D4794}"/>
              </a:ext>
            </a:extLst>
          </p:cNvPr>
          <p:cNvSpPr txBox="1"/>
          <p:nvPr/>
        </p:nvSpPr>
        <p:spPr bwMode="gray">
          <a:xfrm>
            <a:off x="122565" y="3476688"/>
            <a:ext cx="34551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V</a:t>
            </a:r>
          </a:p>
          <a:p>
            <a:r>
              <a:rPr lang="de-DE" sz="800" dirty="0"/>
              <a:t>O</a:t>
            </a:r>
          </a:p>
          <a:p>
            <a:r>
              <a:rPr lang="de-DE" sz="800" dirty="0"/>
              <a:t>R</a:t>
            </a:r>
          </a:p>
          <a:p>
            <a:r>
              <a:rPr lang="de-DE" sz="800" dirty="0"/>
              <a:t>N</a:t>
            </a:r>
          </a:p>
          <a:p>
            <a:r>
              <a:rPr lang="de-DE" sz="800" dirty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428293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1575" y="291655"/>
            <a:ext cx="7995211" cy="276273"/>
          </a:xfrm>
        </p:spPr>
        <p:txBody>
          <a:bodyPr>
            <a:normAutofit fontScale="90000"/>
          </a:bodyPr>
          <a:lstStyle/>
          <a:p>
            <a:r>
              <a:rPr lang="de-DE" dirty="0"/>
              <a:t>FINESTRE AL TETTO CASSE MOBILI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4"/>
          </p:nvPr>
        </p:nvSpPr>
        <p:spPr>
          <a:xfrm>
            <a:off x="7424670" y="4728568"/>
            <a:ext cx="634211" cy="136921"/>
          </a:xfrm>
        </p:spPr>
        <p:txBody>
          <a:bodyPr/>
          <a:lstStyle/>
          <a:p>
            <a:fld id="{AF6D56F3-C1CD-4C4F-BE7D-E5565B30760E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5"/>
          </p:nvPr>
        </p:nvSpPr>
        <p:spPr>
          <a:xfrm>
            <a:off x="576000" y="4723200"/>
            <a:ext cx="4641166" cy="139385"/>
          </a:xfrm>
        </p:spPr>
        <p:txBody>
          <a:bodyPr/>
          <a:lstStyle/>
          <a:p>
            <a:r>
              <a:rPr lang="de-DE" dirty="0"/>
              <a:t>&lt;Lichtfenster Wechselkoffer&gt; I &lt;RO&gt;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>
          <a:xfrm>
            <a:off x="7955776" y="4726104"/>
            <a:ext cx="374155" cy="139385"/>
          </a:xfrm>
        </p:spPr>
        <p:txBody>
          <a:bodyPr/>
          <a:lstStyle/>
          <a:p>
            <a:fld id="{6887D4EB-4CF4-4464-BEBC-974C839A04E8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9B7B502F-13B6-4E9B-AEE7-0E44D1BFBE6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89850" y="953689"/>
            <a:ext cx="709750" cy="3531600"/>
          </a:xfrm>
        </p:spPr>
        <p:txBody>
          <a:bodyPr/>
          <a:lstStyle/>
          <a:p>
            <a:r>
              <a:rPr lang="de-DE" dirty="0"/>
              <a:t>               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7F6DB915-8E4C-43FF-B419-0074E569CD86}"/>
              </a:ext>
            </a:extLst>
          </p:cNvPr>
          <p:cNvSpPr txBox="1"/>
          <p:nvPr/>
        </p:nvSpPr>
        <p:spPr bwMode="gray">
          <a:xfrm>
            <a:off x="411829" y="567928"/>
            <a:ext cx="8069883" cy="4478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it-IT" sz="1000"/>
          </a:p>
          <a:p>
            <a:endParaRPr lang="it-IT" sz="1000"/>
          </a:p>
          <a:p>
            <a:r>
              <a:rPr lang="it-IT" sz="1000"/>
              <a:t>Cassa mobile mod. WK 7,3 m (</a:t>
            </a:r>
            <a:r>
              <a:rPr lang="it-IT" sz="1000" b="0" i="0" u="none" strike="noStrike" baseline="0">
                <a:latin typeface="Arial" panose="020B0604020202020204" pitchFamily="34" charset="0"/>
              </a:rPr>
              <a:t>1 apertura nel primo terzo, per tutta la larghezza)</a:t>
            </a:r>
            <a:endParaRPr lang="it-IT" sz="100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xmlns="" id="{C2FA75AD-ADED-4BA6-B008-5DC3A62723DE}"/>
              </a:ext>
            </a:extLst>
          </p:cNvPr>
          <p:cNvSpPr txBox="1"/>
          <p:nvPr/>
        </p:nvSpPr>
        <p:spPr bwMode="gray">
          <a:xfrm>
            <a:off x="411829" y="2647962"/>
            <a:ext cx="7543947" cy="388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  <a:p>
            <a:r>
              <a:rPr lang="de-DE" sz="1000" dirty="0"/>
              <a:t>Cassa mobile mod. WK 7,7 m (</a:t>
            </a:r>
            <a:r>
              <a:rPr lang="de-DE" sz="1000" dirty="0">
                <a:latin typeface="Arial" panose="020B0604020202020204" pitchFamily="34" charset="0"/>
              </a:rPr>
              <a:t>1 </a:t>
            </a:r>
            <a:r>
              <a:rPr lang="de-DE" sz="1000" dirty="0" err="1">
                <a:latin typeface="Arial" panose="020B0604020202020204" pitchFamily="34" charset="0"/>
              </a:rPr>
              <a:t>apertura</a:t>
            </a:r>
            <a:r>
              <a:rPr lang="de-DE" sz="1000" dirty="0">
                <a:latin typeface="Arial" panose="020B0604020202020204" pitchFamily="34" charset="0"/>
              </a:rPr>
              <a:t> </a:t>
            </a:r>
            <a:r>
              <a:rPr lang="de-DE" sz="1000" dirty="0" err="1">
                <a:latin typeface="Arial" panose="020B0604020202020204" pitchFamily="34" charset="0"/>
              </a:rPr>
              <a:t>nel</a:t>
            </a:r>
            <a:r>
              <a:rPr lang="de-DE" sz="1000" dirty="0">
                <a:latin typeface="Arial" panose="020B0604020202020204" pitchFamily="34" charset="0"/>
              </a:rPr>
              <a:t> </a:t>
            </a:r>
            <a:r>
              <a:rPr lang="de-DE" sz="1000" dirty="0" err="1">
                <a:latin typeface="Arial" panose="020B0604020202020204" pitchFamily="34" charset="0"/>
              </a:rPr>
              <a:t>primo</a:t>
            </a:r>
            <a:r>
              <a:rPr lang="de-DE" sz="1000" dirty="0">
                <a:latin typeface="Arial" panose="020B0604020202020204" pitchFamily="34" charset="0"/>
              </a:rPr>
              <a:t> </a:t>
            </a:r>
            <a:r>
              <a:rPr lang="de-DE" sz="1000" dirty="0" err="1">
                <a:latin typeface="Arial" panose="020B0604020202020204" pitchFamily="34" charset="0"/>
              </a:rPr>
              <a:t>terzo</a:t>
            </a:r>
            <a:r>
              <a:rPr lang="de-DE" sz="1000" dirty="0">
                <a:latin typeface="Arial" panose="020B0604020202020204" pitchFamily="34" charset="0"/>
              </a:rPr>
              <a:t>, per </a:t>
            </a:r>
            <a:r>
              <a:rPr lang="de-DE" sz="1000" dirty="0" err="1">
                <a:latin typeface="Arial" panose="020B0604020202020204" pitchFamily="34" charset="0"/>
              </a:rPr>
              <a:t>tutta</a:t>
            </a:r>
            <a:r>
              <a:rPr lang="de-DE" sz="1000" dirty="0">
                <a:latin typeface="Arial" panose="020B0604020202020204" pitchFamily="34" charset="0"/>
              </a:rPr>
              <a:t> la </a:t>
            </a:r>
            <a:r>
              <a:rPr lang="de-DE" sz="1000" dirty="0" err="1">
                <a:latin typeface="Arial" panose="020B0604020202020204" pitchFamily="34" charset="0"/>
              </a:rPr>
              <a:t>larghezza</a:t>
            </a:r>
            <a:r>
              <a:rPr lang="de-DE" sz="1000" dirty="0">
                <a:latin typeface="Arial" panose="020B0604020202020204" pitchFamily="34" charset="0"/>
              </a:rPr>
              <a:t>)</a:t>
            </a:r>
            <a:endParaRPr lang="de-DE" sz="10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95D892D2-2DF1-431F-BEE2-56EC088944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29" y="3014282"/>
            <a:ext cx="4641167" cy="164926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D5108B01-69A0-4C51-A0C0-BC418C03E1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828" y="1107439"/>
            <a:ext cx="4362595" cy="1595382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xmlns="" id="{CBBB57EB-53DC-41AB-9040-67CF7983729F}"/>
              </a:ext>
            </a:extLst>
          </p:cNvPr>
          <p:cNvSpPr txBox="1"/>
          <p:nvPr/>
        </p:nvSpPr>
        <p:spPr bwMode="gray">
          <a:xfrm>
            <a:off x="214313" y="1557338"/>
            <a:ext cx="13573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V</a:t>
            </a:r>
          </a:p>
          <a:p>
            <a:r>
              <a:rPr lang="de-DE" sz="800" dirty="0"/>
              <a:t>O</a:t>
            </a:r>
          </a:p>
          <a:p>
            <a:r>
              <a:rPr lang="de-DE" sz="800" dirty="0"/>
              <a:t>R</a:t>
            </a:r>
          </a:p>
          <a:p>
            <a:r>
              <a:rPr lang="de-DE" sz="800" dirty="0"/>
              <a:t>N</a:t>
            </a:r>
          </a:p>
          <a:p>
            <a:r>
              <a:rPr lang="de-DE" sz="800" dirty="0"/>
              <a:t>E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xmlns="" id="{74F0317A-75EA-4793-966C-C5ADFC01C1DB}"/>
              </a:ext>
            </a:extLst>
          </p:cNvPr>
          <p:cNvSpPr txBox="1"/>
          <p:nvPr/>
        </p:nvSpPr>
        <p:spPr bwMode="gray">
          <a:xfrm flipH="1">
            <a:off x="225741" y="3402745"/>
            <a:ext cx="18608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V</a:t>
            </a:r>
          </a:p>
          <a:p>
            <a:r>
              <a:rPr lang="de-DE" sz="800" dirty="0"/>
              <a:t>O</a:t>
            </a:r>
          </a:p>
          <a:p>
            <a:r>
              <a:rPr lang="de-DE" sz="800" dirty="0"/>
              <a:t>R</a:t>
            </a:r>
          </a:p>
          <a:p>
            <a:r>
              <a:rPr lang="de-DE" sz="800" dirty="0"/>
              <a:t>N</a:t>
            </a:r>
          </a:p>
          <a:p>
            <a:r>
              <a:rPr lang="de-DE" sz="800" dirty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209623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1575" y="291655"/>
            <a:ext cx="7995211" cy="276273"/>
          </a:xfrm>
        </p:spPr>
        <p:txBody>
          <a:bodyPr>
            <a:normAutofit fontScale="90000"/>
          </a:bodyPr>
          <a:lstStyle/>
          <a:p>
            <a:r>
              <a:rPr lang="de-DE" dirty="0"/>
              <a:t>COLORE TETTO SU Dry Liner E CASSE MOBILI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4"/>
          </p:nvPr>
        </p:nvSpPr>
        <p:spPr>
          <a:xfrm>
            <a:off x="7424670" y="4728568"/>
            <a:ext cx="634211" cy="136921"/>
          </a:xfrm>
        </p:spPr>
        <p:txBody>
          <a:bodyPr/>
          <a:lstStyle/>
          <a:p>
            <a:fld id="{AF6D56F3-C1CD-4C4F-BE7D-E5565B30760E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5"/>
          </p:nvPr>
        </p:nvSpPr>
        <p:spPr>
          <a:xfrm>
            <a:off x="576000" y="4723200"/>
            <a:ext cx="4641166" cy="139385"/>
          </a:xfrm>
        </p:spPr>
        <p:txBody>
          <a:bodyPr/>
          <a:lstStyle/>
          <a:p>
            <a:r>
              <a:rPr lang="de-DE" dirty="0"/>
              <a:t>&lt;Dachfarbe bei Dry Linern und Wechselkoffern&gt; I &lt;RO&gt;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>
          <a:xfrm>
            <a:off x="7955776" y="4726104"/>
            <a:ext cx="374155" cy="139385"/>
          </a:xfrm>
        </p:spPr>
        <p:txBody>
          <a:bodyPr/>
          <a:lstStyle/>
          <a:p>
            <a:fld id="{6887D4EB-4CF4-4464-BEBC-974C839A04E8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9B7B502F-13B6-4E9B-AEE7-0E44D1BFBE6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89850" y="953689"/>
            <a:ext cx="709750" cy="3531600"/>
          </a:xfrm>
        </p:spPr>
        <p:txBody>
          <a:bodyPr/>
          <a:lstStyle/>
          <a:p>
            <a:r>
              <a:rPr lang="de-DE" dirty="0"/>
              <a:t>               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7F6DB915-8E4C-43FF-B419-0074E569CD86}"/>
              </a:ext>
            </a:extLst>
          </p:cNvPr>
          <p:cNvSpPr txBox="1"/>
          <p:nvPr/>
        </p:nvSpPr>
        <p:spPr bwMode="gray">
          <a:xfrm>
            <a:off x="1316409" y="513069"/>
            <a:ext cx="8069883" cy="4478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  <a:p>
            <a:endParaRPr lang="de-DE" sz="10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xmlns="" id="{C2FA75AD-ADED-4BA6-B008-5DC3A62723DE}"/>
              </a:ext>
            </a:extLst>
          </p:cNvPr>
          <p:cNvSpPr txBox="1"/>
          <p:nvPr/>
        </p:nvSpPr>
        <p:spPr bwMode="gray">
          <a:xfrm>
            <a:off x="411829" y="2647962"/>
            <a:ext cx="7543947" cy="388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xmlns="" id="{FD205F4D-2BB4-4AEC-98AC-3E4F48D2C623}"/>
              </a:ext>
            </a:extLst>
          </p:cNvPr>
          <p:cNvSpPr txBox="1"/>
          <p:nvPr/>
        </p:nvSpPr>
        <p:spPr bwMode="gray">
          <a:xfrm>
            <a:off x="571573" y="567928"/>
            <a:ext cx="7995213" cy="39173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alt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de-DE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A fronte di singole richieste sul campo</a:t>
            </a:r>
            <a:r>
              <a:rPr lang="it-IT" altLang="de-DE" sz="1000" dirty="0">
                <a:ea typeface="Calibri" panose="020F0502020204030204" pitchFamily="34" charset="0"/>
                <a:cs typeface="Arial" panose="020B0604020202020204" pitchFamily="34" charset="0"/>
              </a:rPr>
              <a:t>, in particolare dalla rete commerciale, di seguito il prospetto dei colori standard del tetto previsti sui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altLang="de-DE" sz="1000" dirty="0">
                <a:ea typeface="Calibri" panose="020F0502020204030204" pitchFamily="34" charset="0"/>
                <a:cs typeface="Arial" panose="020B0604020202020204" pitchFamily="34" charset="0"/>
              </a:rPr>
              <a:t>veicoli costruiti a </a:t>
            </a:r>
            <a:r>
              <a:rPr lang="it-IT" altLang="de-DE" sz="1000" dirty="0" err="1">
                <a:ea typeface="Calibri" panose="020F0502020204030204" pitchFamily="34" charset="0"/>
                <a:cs typeface="Arial" panose="020B0604020202020204" pitchFamily="34" charset="0"/>
              </a:rPr>
              <a:t>Herzlake</a:t>
            </a:r>
            <a:r>
              <a:rPr lang="it-IT" altLang="de-DE" sz="1000" dirty="0">
                <a:ea typeface="Calibri" panose="020F0502020204030204" pitchFamily="34" charset="0"/>
                <a:cs typeface="Arial" panose="020B0604020202020204" pitchFamily="34" charset="0"/>
              </a:rPr>
              <a:t> in base alla combinazione di tipologia di cassa e di tetto. </a:t>
            </a:r>
            <a:r>
              <a:rPr kumimoji="0" lang="it-IT" altLang="de-DE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Al fine di semplificare i processi produttivi e ottimizzare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varianti </a:t>
            </a:r>
            <a:r>
              <a:rPr kumimoji="0" lang="it-IT" altLang="de-DE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e</a:t>
            </a:r>
            <a:r>
              <a:rPr kumimoji="0" lang="it-IT" altLang="de-DE" sz="10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procedure, le singole versioni di tetto sono state unificate con alcuni diversi tipi di cassa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alt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de-DE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In sostanza</a:t>
            </a:r>
            <a:r>
              <a:rPr kumimoji="0" lang="it-IT" altLang="de-DE" sz="10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va notato che questa combinazione di colori è stata gestita in questo modo per anni ed è quindi conosciuta anche </a:t>
            </a:r>
            <a:r>
              <a:rPr lang="it-IT" altLang="de-DE" sz="1000" dirty="0">
                <a:ea typeface="Calibri" panose="020F0502020204030204" pitchFamily="34" charset="0"/>
                <a:cs typeface="Arial" panose="020B0604020202020204" pitchFamily="34" charset="0"/>
              </a:rPr>
              <a:t>al </a:t>
            </a:r>
            <a:r>
              <a:rPr kumimoji="0" lang="it-IT" altLang="de-DE" sz="10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mercato</a:t>
            </a:r>
            <a:r>
              <a:rPr lang="it-IT" altLang="de-DE" sz="1000" dirty="0"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de-DE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Inoltre</a:t>
            </a:r>
            <a:r>
              <a:rPr lang="it-IT" altLang="de-DE" sz="1000" dirty="0">
                <a:ea typeface="Calibri" panose="020F0502020204030204" pitchFamily="34" charset="0"/>
                <a:cs typeface="Arial" panose="020B0604020202020204" pitchFamily="34" charset="0"/>
              </a:rPr>
              <a:t>, la quota di casse con tetto traslucido in vetroresina o quello isolato, su cui il colore della cassa è diverso dal RAL 9010, è ben al di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altLang="de-DE" sz="1000" dirty="0">
                <a:ea typeface="Calibri" panose="020F0502020204030204" pitchFamily="34" charset="0"/>
                <a:cs typeface="Arial" panose="020B0604020202020204" pitchFamily="34" charset="0"/>
              </a:rPr>
              <a:t>sotto del 5% della produzione annuale. Per le altre tipologie di veicoli, del resto, come ad esempio i centinati alla francese, il colore della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altLang="de-DE" sz="1000" dirty="0">
                <a:ea typeface="Calibri" panose="020F0502020204030204" pitchFamily="34" charset="0"/>
                <a:cs typeface="Arial" panose="020B0604020202020204" pitchFamily="34" charset="0"/>
              </a:rPr>
              <a:t>longherina laterale è diversa da quella dei teli laterali</a:t>
            </a:r>
            <a:r>
              <a:rPr kumimoji="0" lang="it-IT" altLang="de-DE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. Sui prodotti della concorrenza il profilo laterale inferiore è nettamente più visibile e si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de-DE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discosta</a:t>
            </a:r>
            <a:r>
              <a:rPr kumimoji="0" lang="it-IT" altLang="de-DE" sz="10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sempre dal colore della cassa.</a:t>
            </a:r>
            <a:endParaRPr kumimoji="0" lang="it-IT" alt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endParaRPr lang="de-DE" dirty="0" err="1"/>
          </a:p>
        </p:txBody>
      </p:sp>
      <p:graphicFrame>
        <p:nvGraphicFramePr>
          <p:cNvPr id="16" name="Tabelle 15">
            <a:extLst>
              <a:ext uri="{FF2B5EF4-FFF2-40B4-BE49-F238E27FC236}">
                <a16:creationId xmlns:a16="http://schemas.microsoft.com/office/drawing/2014/main" xmlns="" id="{DD58BE77-FF98-4517-8693-B0931640D2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7859130"/>
              </p:ext>
            </p:extLst>
          </p:nvPr>
        </p:nvGraphicFramePr>
        <p:xfrm>
          <a:off x="571574" y="2296469"/>
          <a:ext cx="7995210" cy="18933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07141">
                  <a:extLst>
                    <a:ext uri="{9D8B030D-6E8A-4147-A177-3AD203B41FA5}">
                      <a16:colId xmlns:a16="http://schemas.microsoft.com/office/drawing/2014/main" xmlns="" val="1802439575"/>
                    </a:ext>
                  </a:extLst>
                </a:gridCol>
                <a:gridCol w="781581">
                  <a:extLst>
                    <a:ext uri="{9D8B030D-6E8A-4147-A177-3AD203B41FA5}">
                      <a16:colId xmlns:a16="http://schemas.microsoft.com/office/drawing/2014/main" xmlns="" val="982955015"/>
                    </a:ext>
                  </a:extLst>
                </a:gridCol>
                <a:gridCol w="887887">
                  <a:extLst>
                    <a:ext uri="{9D8B030D-6E8A-4147-A177-3AD203B41FA5}">
                      <a16:colId xmlns:a16="http://schemas.microsoft.com/office/drawing/2014/main" xmlns="" val="1658321913"/>
                    </a:ext>
                  </a:extLst>
                </a:gridCol>
                <a:gridCol w="851646">
                  <a:extLst>
                    <a:ext uri="{9D8B030D-6E8A-4147-A177-3AD203B41FA5}">
                      <a16:colId xmlns:a16="http://schemas.microsoft.com/office/drawing/2014/main" xmlns="" val="1734588896"/>
                    </a:ext>
                  </a:extLst>
                </a:gridCol>
                <a:gridCol w="887887">
                  <a:extLst>
                    <a:ext uri="{9D8B030D-6E8A-4147-A177-3AD203B41FA5}">
                      <a16:colId xmlns:a16="http://schemas.microsoft.com/office/drawing/2014/main" xmlns="" val="3513569760"/>
                    </a:ext>
                  </a:extLst>
                </a:gridCol>
                <a:gridCol w="899362">
                  <a:extLst>
                    <a:ext uri="{9D8B030D-6E8A-4147-A177-3AD203B41FA5}">
                      <a16:colId xmlns:a16="http://schemas.microsoft.com/office/drawing/2014/main" xmlns="" val="1250872124"/>
                    </a:ext>
                  </a:extLst>
                </a:gridCol>
                <a:gridCol w="936812">
                  <a:extLst>
                    <a:ext uri="{9D8B030D-6E8A-4147-A177-3AD203B41FA5}">
                      <a16:colId xmlns:a16="http://schemas.microsoft.com/office/drawing/2014/main" xmlns="" val="2314315196"/>
                    </a:ext>
                  </a:extLst>
                </a:gridCol>
                <a:gridCol w="706082">
                  <a:extLst>
                    <a:ext uri="{9D8B030D-6E8A-4147-A177-3AD203B41FA5}">
                      <a16:colId xmlns:a16="http://schemas.microsoft.com/office/drawing/2014/main" xmlns="" val="2420113267"/>
                    </a:ext>
                  </a:extLst>
                </a:gridCol>
                <a:gridCol w="936812">
                  <a:extLst>
                    <a:ext uri="{9D8B030D-6E8A-4147-A177-3AD203B41FA5}">
                      <a16:colId xmlns:a16="http://schemas.microsoft.com/office/drawing/2014/main" xmlns="" val="3976278819"/>
                    </a:ext>
                  </a:extLst>
                </a:gridCol>
              </a:tblGrid>
              <a:tr h="236567">
                <a:tc>
                  <a:txBody>
                    <a:bodyPr/>
                    <a:lstStyle/>
                    <a:p>
                      <a:r>
                        <a:rPr lang="de-DE" sz="1000" dirty="0" err="1">
                          <a:effectLst/>
                        </a:rPr>
                        <a:t>Prodotto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effectLst/>
                        </a:rPr>
                        <a:t>Cassa mobile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Dry Liner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06453234"/>
                  </a:ext>
                </a:extLst>
              </a:tr>
              <a:tr h="236567"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</a:rPr>
                        <a:t>Aufbautyp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STG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STP/STK/STLI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STG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STP/STK/STLI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96605923"/>
                  </a:ext>
                </a:extLst>
              </a:tr>
              <a:tr h="405773">
                <a:tc>
                  <a:txBody>
                    <a:bodyPr/>
                    <a:lstStyle/>
                    <a:p>
                      <a:r>
                        <a:rPr lang="de-DE" sz="1000" dirty="0" err="1">
                          <a:effectLst/>
                        </a:rPr>
                        <a:t>Tipo</a:t>
                      </a:r>
                      <a:r>
                        <a:rPr lang="de-DE" sz="1000" dirty="0">
                          <a:effectLst/>
                        </a:rPr>
                        <a:t> di </a:t>
                      </a:r>
                      <a:r>
                        <a:rPr lang="de-DE" sz="1000" dirty="0" err="1">
                          <a:effectLst/>
                        </a:rPr>
                        <a:t>tetto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effectLst/>
                        </a:rPr>
                        <a:t>Ferro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err="1">
                          <a:effectLst/>
                        </a:rPr>
                        <a:t>Isolato</a:t>
                      </a:r>
                      <a:r>
                        <a:rPr lang="de-DE" sz="1000" dirty="0">
                          <a:effectLst/>
                        </a:rPr>
                        <a:t> / </a:t>
                      </a:r>
                      <a:r>
                        <a:rPr lang="de-DE" sz="1000" dirty="0" err="1">
                          <a:effectLst/>
                        </a:rPr>
                        <a:t>traslucido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effectLst/>
                        </a:rPr>
                        <a:t>Ferro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err="1">
                          <a:effectLst/>
                        </a:rPr>
                        <a:t>Isolato</a:t>
                      </a:r>
                      <a:r>
                        <a:rPr lang="de-DE" sz="1000" dirty="0">
                          <a:effectLst/>
                        </a:rPr>
                        <a:t> / </a:t>
                      </a:r>
                      <a:r>
                        <a:rPr lang="de-DE" sz="1000" dirty="0" err="1">
                          <a:effectLst/>
                        </a:rPr>
                        <a:t>traslucido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effectLst/>
                        </a:rPr>
                        <a:t>Ferro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err="1">
                          <a:effectLst/>
                        </a:rPr>
                        <a:t>Isolato</a:t>
                      </a:r>
                      <a:r>
                        <a:rPr lang="de-DE" sz="1000" dirty="0">
                          <a:effectLst/>
                        </a:rPr>
                        <a:t> / </a:t>
                      </a:r>
                      <a:r>
                        <a:rPr lang="de-DE" sz="1000" dirty="0" err="1">
                          <a:effectLst/>
                        </a:rPr>
                        <a:t>traslucido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effectLst/>
                        </a:rPr>
                        <a:t>Ferro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err="1">
                          <a:effectLst/>
                        </a:rPr>
                        <a:t>Isolato</a:t>
                      </a:r>
                      <a:r>
                        <a:rPr lang="de-DE" sz="1000" dirty="0">
                          <a:effectLst/>
                        </a:rPr>
                        <a:t> / </a:t>
                      </a:r>
                      <a:r>
                        <a:rPr lang="de-DE" sz="1000" dirty="0" err="1">
                          <a:effectLst/>
                        </a:rPr>
                        <a:t>traslucido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extLst>
                  <a:ext uri="{0D108BD9-81ED-4DB2-BD59-A6C34878D82A}">
                    <a16:rowId xmlns:a16="http://schemas.microsoft.com/office/drawing/2014/main" xmlns="" val="182868035"/>
                  </a:ext>
                </a:extLst>
              </a:tr>
              <a:tr h="405773">
                <a:tc>
                  <a:txBody>
                    <a:bodyPr/>
                    <a:lstStyle/>
                    <a:p>
                      <a:r>
                        <a:rPr lang="de-DE" sz="1000" dirty="0" err="1">
                          <a:effectLst/>
                        </a:rPr>
                        <a:t>Colore</a:t>
                      </a:r>
                      <a:r>
                        <a:rPr lang="de-DE" sz="1000" dirty="0">
                          <a:effectLst/>
                        </a:rPr>
                        <a:t> </a:t>
                      </a:r>
                      <a:r>
                        <a:rPr lang="de-DE" sz="1000" dirty="0" err="1">
                          <a:effectLst/>
                        </a:rPr>
                        <a:t>tetto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err="1">
                          <a:effectLst/>
                        </a:rPr>
                        <a:t>Colore</a:t>
                      </a:r>
                      <a:r>
                        <a:rPr lang="de-DE" sz="1000" dirty="0">
                          <a:effectLst/>
                        </a:rPr>
                        <a:t> </a:t>
                      </a:r>
                      <a:r>
                        <a:rPr lang="de-DE" sz="1000" dirty="0" err="1">
                          <a:effectLst/>
                        </a:rPr>
                        <a:t>cassa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RAL 9010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err="1">
                          <a:effectLst/>
                        </a:rPr>
                        <a:t>Colore</a:t>
                      </a:r>
                      <a:r>
                        <a:rPr lang="de-DE" sz="1000" dirty="0">
                          <a:effectLst/>
                        </a:rPr>
                        <a:t> </a:t>
                      </a:r>
                      <a:r>
                        <a:rPr lang="de-DE" sz="1000" dirty="0" err="1">
                          <a:effectLst/>
                        </a:rPr>
                        <a:t>cassa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RAL 9010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err="1">
                          <a:effectLst/>
                        </a:rPr>
                        <a:t>Colore</a:t>
                      </a:r>
                      <a:r>
                        <a:rPr lang="de-DE" sz="1000" dirty="0">
                          <a:effectLst/>
                        </a:rPr>
                        <a:t> </a:t>
                      </a:r>
                      <a:r>
                        <a:rPr lang="de-DE" sz="1000" dirty="0" err="1">
                          <a:effectLst/>
                        </a:rPr>
                        <a:t>cassa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RAL 9010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RAL 9010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RAL 9010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extLst>
                  <a:ext uri="{0D108BD9-81ED-4DB2-BD59-A6C34878D82A}">
                    <a16:rowId xmlns:a16="http://schemas.microsoft.com/office/drawing/2014/main" xmlns="" val="1968807119"/>
                  </a:ext>
                </a:extLst>
              </a:tr>
              <a:tr h="608661">
                <a:tc>
                  <a:txBody>
                    <a:bodyPr/>
                    <a:lstStyle/>
                    <a:p>
                      <a:r>
                        <a:rPr lang="de-DE" sz="1000" dirty="0" err="1">
                          <a:effectLst/>
                        </a:rPr>
                        <a:t>Fascia</a:t>
                      </a:r>
                      <a:r>
                        <a:rPr lang="de-DE" sz="1000" dirty="0">
                          <a:effectLst/>
                        </a:rPr>
                        <a:t> del </a:t>
                      </a:r>
                      <a:r>
                        <a:rPr lang="de-DE" sz="1000" dirty="0" err="1">
                          <a:effectLst/>
                        </a:rPr>
                        <a:t>tetto</a:t>
                      </a:r>
                      <a:r>
                        <a:rPr lang="de-DE" sz="1000" dirty="0">
                          <a:effectLst/>
                        </a:rPr>
                        <a:t> </a:t>
                      </a:r>
                      <a:r>
                        <a:rPr lang="de-DE" sz="1000" dirty="0" err="1">
                          <a:effectLst/>
                        </a:rPr>
                        <a:t>visibile</a:t>
                      </a:r>
                      <a:r>
                        <a:rPr lang="de-DE" sz="1000" dirty="0">
                          <a:effectLst/>
                        </a:rPr>
                        <a:t> </a:t>
                      </a:r>
                      <a:r>
                        <a:rPr lang="de-DE" sz="1000" dirty="0" err="1">
                          <a:effectLst/>
                        </a:rPr>
                        <a:t>lateralmente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-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60 mm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effectLst/>
                        </a:rPr>
                        <a:t>-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60 mm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effectLst/>
                        </a:rPr>
                        <a:t>-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60 mm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effectLst/>
                        </a:rPr>
                        <a:t>37,5 mm</a:t>
                      </a:r>
                      <a:endParaRPr lang="de-D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effectLst/>
                        </a:rPr>
                        <a:t>60 mm</a:t>
                      </a:r>
                      <a:endParaRPr lang="de-D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1463" marR="41463" marT="0" marB="0" anchor="b"/>
                </a:tc>
                <a:extLst>
                  <a:ext uri="{0D108BD9-81ED-4DB2-BD59-A6C34878D82A}">
                    <a16:rowId xmlns:a16="http://schemas.microsoft.com/office/drawing/2014/main" xmlns="" val="26098750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4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1575" y="291655"/>
            <a:ext cx="7995211" cy="276273"/>
          </a:xfrm>
        </p:spPr>
        <p:txBody>
          <a:bodyPr>
            <a:normAutofit fontScale="90000"/>
          </a:bodyPr>
          <a:lstStyle/>
          <a:p>
            <a:r>
              <a:rPr lang="de-DE" dirty="0"/>
              <a:t>COLORE TETTO SU Dry Liner E CASSE MOBILI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4"/>
          </p:nvPr>
        </p:nvSpPr>
        <p:spPr>
          <a:xfrm>
            <a:off x="7424670" y="4728568"/>
            <a:ext cx="634211" cy="136921"/>
          </a:xfrm>
        </p:spPr>
        <p:txBody>
          <a:bodyPr/>
          <a:lstStyle/>
          <a:p>
            <a:fld id="{AF6D56F3-C1CD-4C4F-BE7D-E5565B30760E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5"/>
          </p:nvPr>
        </p:nvSpPr>
        <p:spPr>
          <a:xfrm>
            <a:off x="576000" y="4723200"/>
            <a:ext cx="4641166" cy="139385"/>
          </a:xfrm>
        </p:spPr>
        <p:txBody>
          <a:bodyPr/>
          <a:lstStyle/>
          <a:p>
            <a:r>
              <a:rPr lang="de-DE" dirty="0"/>
              <a:t>&lt;Dachfarbe bei Dry Linern und Wechselkoffern&gt; I &lt;RO&gt;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>
          <a:xfrm>
            <a:off x="7955776" y="4726104"/>
            <a:ext cx="374155" cy="139385"/>
          </a:xfrm>
        </p:spPr>
        <p:txBody>
          <a:bodyPr/>
          <a:lstStyle/>
          <a:p>
            <a:fld id="{6887D4EB-4CF4-4464-BEBC-974C839A04E8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9B7B502F-13B6-4E9B-AEE7-0E44D1BFBE6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89850" y="953689"/>
            <a:ext cx="709750" cy="3531600"/>
          </a:xfrm>
        </p:spPr>
        <p:txBody>
          <a:bodyPr/>
          <a:lstStyle/>
          <a:p>
            <a:r>
              <a:rPr lang="de-DE" dirty="0"/>
              <a:t>               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7F6DB915-8E4C-43FF-B419-0074E569CD86}"/>
              </a:ext>
            </a:extLst>
          </p:cNvPr>
          <p:cNvSpPr txBox="1"/>
          <p:nvPr/>
        </p:nvSpPr>
        <p:spPr bwMode="gray">
          <a:xfrm>
            <a:off x="1316409" y="513069"/>
            <a:ext cx="8069883" cy="4478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  <a:p>
            <a:endParaRPr lang="de-DE" sz="10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xmlns="" id="{C2FA75AD-ADED-4BA6-B008-5DC3A62723DE}"/>
              </a:ext>
            </a:extLst>
          </p:cNvPr>
          <p:cNvSpPr txBox="1"/>
          <p:nvPr/>
        </p:nvSpPr>
        <p:spPr bwMode="gray">
          <a:xfrm>
            <a:off x="411829" y="2647962"/>
            <a:ext cx="7543947" cy="388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</p:txBody>
      </p:sp>
      <p:pic>
        <p:nvPicPr>
          <p:cNvPr id="12" name="Grafik 11" descr="Ein Bild, das Text, Himmel, draußen, Schild enthält.&#10;&#10;Automatisch generierte Beschreibung">
            <a:extLst>
              <a:ext uri="{FF2B5EF4-FFF2-40B4-BE49-F238E27FC236}">
                <a16:creationId xmlns:a16="http://schemas.microsoft.com/office/drawing/2014/main" xmlns="" id="{FACED6E6-2629-4B17-A737-96F982A9E1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00" y="953689"/>
            <a:ext cx="3872639" cy="2904479"/>
          </a:xfrm>
          <a:prstGeom prst="rect">
            <a:avLst/>
          </a:prstGeom>
        </p:spPr>
      </p:pic>
      <p:pic>
        <p:nvPicPr>
          <p:cNvPr id="14" name="Grafik 13" descr="Ein Bild, das Text, Himmel, draußen enthält.&#10;&#10;Automatisch generierte Beschreibung">
            <a:extLst>
              <a:ext uri="{FF2B5EF4-FFF2-40B4-BE49-F238E27FC236}">
                <a16:creationId xmlns:a16="http://schemas.microsoft.com/office/drawing/2014/main" xmlns="" id="{DB6FA4DD-8E25-4FA3-A8EC-75A5212F51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5657" y="953689"/>
            <a:ext cx="3787896" cy="2840922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xmlns="" id="{F9670510-959B-42A5-B83A-F86B17152C54}"/>
              </a:ext>
            </a:extLst>
          </p:cNvPr>
          <p:cNvSpPr txBox="1"/>
          <p:nvPr/>
        </p:nvSpPr>
        <p:spPr bwMode="gray">
          <a:xfrm>
            <a:off x="576000" y="3858169"/>
            <a:ext cx="3872639" cy="7138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it-IT" sz="100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etto in ferro e cassa Plywood</a:t>
            </a:r>
            <a:endParaRPr lang="it-IT" sz="100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xmlns="" id="{398AFA89-4A5A-4F11-B97A-6C44B34CE056}"/>
              </a:ext>
            </a:extLst>
          </p:cNvPr>
          <p:cNvSpPr txBox="1"/>
          <p:nvPr/>
        </p:nvSpPr>
        <p:spPr bwMode="gray">
          <a:xfrm>
            <a:off x="4785657" y="3794611"/>
            <a:ext cx="3781129" cy="11403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it-IT" sz="100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etto isolato e cassa Plywood</a:t>
            </a:r>
            <a:endParaRPr lang="it-IT" sz="1000"/>
          </a:p>
        </p:txBody>
      </p:sp>
    </p:spTree>
    <p:extLst>
      <p:ext uri="{BB962C8B-B14F-4D97-AF65-F5344CB8AC3E}">
        <p14:creationId xmlns:p14="http://schemas.microsoft.com/office/powerpoint/2010/main" val="139069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1575" y="291655"/>
            <a:ext cx="7995211" cy="276273"/>
          </a:xfrm>
        </p:spPr>
        <p:txBody>
          <a:bodyPr>
            <a:normAutofit fontScale="90000"/>
          </a:bodyPr>
          <a:lstStyle/>
          <a:p>
            <a:r>
              <a:rPr lang="de-DE" dirty="0"/>
              <a:t>COLORE TETTO SU Dry Liner E CASSE MOBILI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4"/>
          </p:nvPr>
        </p:nvSpPr>
        <p:spPr>
          <a:xfrm>
            <a:off x="7424670" y="4728568"/>
            <a:ext cx="634211" cy="136921"/>
          </a:xfrm>
        </p:spPr>
        <p:txBody>
          <a:bodyPr/>
          <a:lstStyle/>
          <a:p>
            <a:fld id="{AF6D56F3-C1CD-4C4F-BE7D-E5565B30760E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5"/>
          </p:nvPr>
        </p:nvSpPr>
        <p:spPr>
          <a:xfrm>
            <a:off x="576000" y="4723200"/>
            <a:ext cx="4641166" cy="139385"/>
          </a:xfrm>
        </p:spPr>
        <p:txBody>
          <a:bodyPr/>
          <a:lstStyle/>
          <a:p>
            <a:r>
              <a:rPr lang="de-DE" dirty="0"/>
              <a:t>&lt;Dachfarbe bei Dry Linern und Wechselkoffern&gt; I &lt;RO&gt;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>
          <a:xfrm>
            <a:off x="7955776" y="4726104"/>
            <a:ext cx="374155" cy="139385"/>
          </a:xfrm>
        </p:spPr>
        <p:txBody>
          <a:bodyPr/>
          <a:lstStyle/>
          <a:p>
            <a:fld id="{6887D4EB-4CF4-4464-BEBC-974C839A04E8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9B7B502F-13B6-4E9B-AEE7-0E44D1BFBE6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89850" y="953689"/>
            <a:ext cx="709750" cy="3531600"/>
          </a:xfrm>
        </p:spPr>
        <p:txBody>
          <a:bodyPr/>
          <a:lstStyle/>
          <a:p>
            <a:r>
              <a:rPr lang="de-DE" dirty="0"/>
              <a:t>               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7F6DB915-8E4C-43FF-B419-0074E569CD86}"/>
              </a:ext>
            </a:extLst>
          </p:cNvPr>
          <p:cNvSpPr txBox="1"/>
          <p:nvPr/>
        </p:nvSpPr>
        <p:spPr bwMode="gray">
          <a:xfrm>
            <a:off x="1316409" y="513069"/>
            <a:ext cx="8069883" cy="4478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  <a:p>
            <a:endParaRPr lang="de-DE" sz="10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xmlns="" id="{C2FA75AD-ADED-4BA6-B008-5DC3A62723DE}"/>
              </a:ext>
            </a:extLst>
          </p:cNvPr>
          <p:cNvSpPr txBox="1"/>
          <p:nvPr/>
        </p:nvSpPr>
        <p:spPr bwMode="gray">
          <a:xfrm>
            <a:off x="411829" y="2647962"/>
            <a:ext cx="7543947" cy="388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</p:txBody>
      </p:sp>
      <p:pic>
        <p:nvPicPr>
          <p:cNvPr id="14" name="Grafik 13" descr="Ein Bild, das Text, Himmel, draußen, gelb enthält.&#10;&#10;Automatisch generierte Beschreibung">
            <a:extLst>
              <a:ext uri="{FF2B5EF4-FFF2-40B4-BE49-F238E27FC236}">
                <a16:creationId xmlns:a16="http://schemas.microsoft.com/office/drawing/2014/main" xmlns="" id="{F442551D-69E7-4381-B690-3F052C9886A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021" y="2412420"/>
            <a:ext cx="1928112" cy="1446084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xmlns="" id="{4AD3A133-A89B-4D38-8AE2-0F1351BA7FCB}"/>
              </a:ext>
            </a:extLst>
          </p:cNvPr>
          <p:cNvSpPr txBox="1"/>
          <p:nvPr/>
        </p:nvSpPr>
        <p:spPr bwMode="gray">
          <a:xfrm>
            <a:off x="571575" y="3879661"/>
            <a:ext cx="3530616" cy="5310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it-IT" sz="1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etto in ferro e cassa </a:t>
            </a:r>
            <a:r>
              <a:rPr lang="it-IT" sz="10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Plywood</a:t>
            </a:r>
            <a:endParaRPr lang="it-IT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xmlns="" id="{5CE8C226-1E00-47A9-A7D4-0A4EAAA143B6}"/>
              </a:ext>
            </a:extLst>
          </p:cNvPr>
          <p:cNvSpPr txBox="1"/>
          <p:nvPr/>
        </p:nvSpPr>
        <p:spPr bwMode="gray">
          <a:xfrm>
            <a:off x="4205466" y="3906186"/>
            <a:ext cx="4193656" cy="8223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it-IT" sz="1000" dirty="0"/>
              <a:t>A confronto con un centinato alla francese, il colore della longherina </a:t>
            </a:r>
          </a:p>
          <a:p>
            <a:r>
              <a:rPr lang="it-IT" sz="1000" dirty="0"/>
              <a:t>esterna è diverso da quello dei teli laterali</a:t>
            </a:r>
          </a:p>
        </p:txBody>
      </p:sp>
      <p:pic>
        <p:nvPicPr>
          <p:cNvPr id="18" name="Grafik 17" descr="Ein Bild, das draußen, Himmel, Baum, gelb enthält.&#10;&#10;Automatisch generierte Beschreibung">
            <a:extLst>
              <a:ext uri="{FF2B5EF4-FFF2-40B4-BE49-F238E27FC236}">
                <a16:creationId xmlns:a16="http://schemas.microsoft.com/office/drawing/2014/main" xmlns="" id="{08C02FD7-527E-4821-B563-C2B5E20A2E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75" y="1469305"/>
            <a:ext cx="3213809" cy="2410356"/>
          </a:xfrm>
          <a:prstGeom prst="rect">
            <a:avLst/>
          </a:prstGeom>
        </p:spPr>
      </p:pic>
      <p:pic>
        <p:nvPicPr>
          <p:cNvPr id="23" name="Grafik 22" descr="Ein Bild, das Text, draußen, LKW, Himmel enthält.&#10;&#10;Automatisch generierte Beschreibung">
            <a:extLst>
              <a:ext uri="{FF2B5EF4-FFF2-40B4-BE49-F238E27FC236}">
                <a16:creationId xmlns:a16="http://schemas.microsoft.com/office/drawing/2014/main" xmlns="" id="{496F43C6-5CB0-4662-A111-603C208E1A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466" y="2432000"/>
            <a:ext cx="1928112" cy="1446084"/>
          </a:xfrm>
          <a:prstGeom prst="rect">
            <a:avLst/>
          </a:prstGeom>
        </p:spPr>
      </p:pic>
      <p:pic>
        <p:nvPicPr>
          <p:cNvPr id="24" name="Grafik 23" descr="Ein Bild, das Text, Himmel, draußen, LKW enthält.&#10;&#10;Automatisch generierte Beschreibung">
            <a:extLst>
              <a:ext uri="{FF2B5EF4-FFF2-40B4-BE49-F238E27FC236}">
                <a16:creationId xmlns:a16="http://schemas.microsoft.com/office/drawing/2014/main" xmlns="" id="{68B362CB-2CE1-4BA6-A791-F21EFF8367D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3126" y="808922"/>
            <a:ext cx="1981544" cy="148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00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1575" y="291655"/>
            <a:ext cx="7995211" cy="276273"/>
          </a:xfrm>
        </p:spPr>
        <p:txBody>
          <a:bodyPr>
            <a:normAutofit fontScale="90000"/>
          </a:bodyPr>
          <a:lstStyle/>
          <a:p>
            <a:r>
              <a:rPr lang="de-DE" dirty="0"/>
              <a:t>PANNELLATURA INTERNA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4"/>
          </p:nvPr>
        </p:nvSpPr>
        <p:spPr>
          <a:xfrm>
            <a:off x="7424670" y="4728568"/>
            <a:ext cx="634211" cy="136921"/>
          </a:xfrm>
        </p:spPr>
        <p:txBody>
          <a:bodyPr/>
          <a:lstStyle/>
          <a:p>
            <a:fld id="{AF6D56F3-C1CD-4C4F-BE7D-E5565B30760E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5"/>
          </p:nvPr>
        </p:nvSpPr>
        <p:spPr>
          <a:xfrm>
            <a:off x="576000" y="4723200"/>
            <a:ext cx="4641166" cy="139385"/>
          </a:xfrm>
        </p:spPr>
        <p:txBody>
          <a:bodyPr/>
          <a:lstStyle/>
          <a:p>
            <a:r>
              <a:rPr lang="de-DE" dirty="0"/>
              <a:t>&lt;Innenverkleidung&gt; I &lt;RO&gt;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>
          <a:xfrm>
            <a:off x="7955776" y="4726104"/>
            <a:ext cx="374155" cy="139385"/>
          </a:xfrm>
        </p:spPr>
        <p:txBody>
          <a:bodyPr/>
          <a:lstStyle/>
          <a:p>
            <a:fld id="{6887D4EB-4CF4-4464-BEBC-974C839A04E8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9B7B502F-13B6-4E9B-AEE7-0E44D1BFBE6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789850" y="953689"/>
            <a:ext cx="709750" cy="3531600"/>
          </a:xfrm>
        </p:spPr>
        <p:txBody>
          <a:bodyPr/>
          <a:lstStyle/>
          <a:p>
            <a:r>
              <a:rPr lang="de-DE" dirty="0"/>
              <a:t>               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7F6DB915-8E4C-43FF-B419-0074E569CD86}"/>
              </a:ext>
            </a:extLst>
          </p:cNvPr>
          <p:cNvSpPr txBox="1"/>
          <p:nvPr/>
        </p:nvSpPr>
        <p:spPr bwMode="gray">
          <a:xfrm>
            <a:off x="568931" y="592408"/>
            <a:ext cx="8521729" cy="24708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it-IT" sz="1000" b="0" i="0" u="none" strike="noStrike" baseline="0" dirty="0">
              <a:latin typeface="Arial" panose="020B0604020202020204" pitchFamily="34" charset="0"/>
            </a:endParaRPr>
          </a:p>
          <a:p>
            <a:r>
              <a:rPr lang="it-IT" sz="1100" dirty="0">
                <a:latin typeface="Arial" panose="020B0604020202020204" pitchFamily="34" charset="0"/>
              </a:rPr>
              <a:t>Nelle configurazioni delle casse mobili e dei Dry Liner nella „</a:t>
            </a:r>
            <a:r>
              <a:rPr lang="it-IT" sz="1100" b="1" dirty="0">
                <a:latin typeface="Arial" panose="020B0604020202020204" pitchFamily="34" charset="0"/>
              </a:rPr>
              <a:t>versione per trasporto mobili/traslochi“ è ora preimpostato </a:t>
            </a:r>
            <a:r>
              <a:rPr lang="it-IT" sz="1100" b="1" dirty="0">
                <a:solidFill>
                  <a:srgbClr val="000000"/>
                </a:solidFill>
                <a:latin typeface="Arial" panose="020B0604020202020204" pitchFamily="34" charset="0"/>
              </a:rPr>
              <a:t>la nuova</a:t>
            </a:r>
            <a:endParaRPr lang="it-IT" sz="1100" b="1" dirty="0">
              <a:latin typeface="Arial" panose="020B0604020202020204" pitchFamily="34" charset="0"/>
            </a:endParaRPr>
          </a:p>
          <a:p>
            <a:r>
              <a:rPr lang="it-IT" sz="1100" b="1" dirty="0">
                <a:latin typeface="Arial" panose="020B0604020202020204" pitchFamily="34" charset="0"/>
              </a:rPr>
              <a:t>combinazione con la foderatura in feltro il cod.</a:t>
            </a:r>
            <a:r>
              <a:rPr lang="it-IT" sz="1100" b="1" dirty="0">
                <a:solidFill>
                  <a:srgbClr val="000000"/>
                </a:solidFill>
                <a:latin typeface="Arial" panose="020B0604020202020204" pitchFamily="34" charset="0"/>
              </a:rPr>
              <a:t> „Q 117.114 </a:t>
            </a:r>
          </a:p>
          <a:p>
            <a:r>
              <a:rPr lang="it-IT" sz="1100" b="1" dirty="0">
                <a:solidFill>
                  <a:srgbClr val="000000"/>
                </a:solidFill>
                <a:latin typeface="Arial" panose="020B0604020202020204" pitchFamily="34" charset="0"/>
              </a:rPr>
              <a:t>Pareti interne con lamiera in ferro liscia“, al posto del rivestimento interno in legno.</a:t>
            </a:r>
          </a:p>
          <a:p>
            <a:pPr algn="l"/>
            <a:r>
              <a:rPr lang="it-IT" sz="1100" b="1" dirty="0">
                <a:latin typeface="Arial" panose="020B0604020202020204" pitchFamily="34" charset="0"/>
              </a:rPr>
              <a:t>Nella versione „lamiera liscia“ si tratta in definitiva di una versione tipo nido d‘ape, ma senza gli incavi propri del nido d‘ape. </a:t>
            </a:r>
          </a:p>
          <a:p>
            <a:pPr algn="l"/>
            <a:r>
              <a:rPr lang="it-IT" sz="1100" dirty="0">
                <a:latin typeface="Arial" panose="020B0604020202020204" pitchFamily="34" charset="0"/>
              </a:rPr>
              <a:t>Visto che il processo di base e l‘assemblaggio del rivestimento in legno è nettamente più laborioso e anche più caro per il cliente finale,</a:t>
            </a:r>
          </a:p>
          <a:p>
            <a:pPr algn="l"/>
            <a:r>
              <a:rPr lang="it-IT" sz="1100" dirty="0">
                <a:latin typeface="Arial" panose="020B0604020202020204" pitchFamily="34" charset="0"/>
              </a:rPr>
              <a:t>è stata adottata questa nuova variante.</a:t>
            </a:r>
          </a:p>
          <a:p>
            <a:r>
              <a:rPr lang="it-IT" sz="1100" b="1" dirty="0">
                <a:latin typeface="Arial" panose="020B0604020202020204" pitchFamily="34" charset="0"/>
              </a:rPr>
              <a:t>Inoltre, con questa tipologia di pannellatura si guadagna una maggiore larghezza utile rispetto a quella con il rivestimento</a:t>
            </a:r>
          </a:p>
          <a:p>
            <a:r>
              <a:rPr lang="it-IT" sz="1100" b="1" dirty="0">
                <a:latin typeface="Arial" panose="020B0604020202020204" pitchFamily="34" charset="0"/>
              </a:rPr>
              <a:t>in legno</a:t>
            </a:r>
            <a:r>
              <a:rPr lang="it-IT" sz="1100" dirty="0">
                <a:latin typeface="Arial" panose="020B0604020202020204" pitchFamily="34" charset="0"/>
              </a:rPr>
              <a:t>: decade pertanto  il cod. „Q 300.000 Larghezza in luce ridotta a causa dell‘allestimento interno“. </a:t>
            </a:r>
          </a:p>
          <a:p>
            <a:r>
              <a:rPr lang="it-IT" sz="1100" dirty="0">
                <a:latin typeface="Arial" panose="020B0604020202020204" pitchFamily="34" charset="0"/>
              </a:rPr>
              <a:t>Da un punto di vista visivo non si riesce a riconoscere quale variante ci sia dietro il feltro. </a:t>
            </a:r>
          </a:p>
          <a:p>
            <a:r>
              <a:rPr lang="it-IT" sz="1100" dirty="0">
                <a:latin typeface="Arial" panose="020B0604020202020204" pitchFamily="34" charset="0"/>
              </a:rPr>
              <a:t>Il rivestimento in legno rimane comunque un optional selezionabile.</a:t>
            </a:r>
          </a:p>
          <a:p>
            <a:endParaRPr lang="de-DE" sz="1100" dirty="0">
              <a:latin typeface="Arial" panose="020B0604020202020204" pitchFamily="34" charset="0"/>
            </a:endParaRPr>
          </a:p>
          <a:p>
            <a:r>
              <a:rPr lang="de-DE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</a:p>
          <a:p>
            <a:endParaRPr lang="de-DE" sz="1000" dirty="0">
              <a:latin typeface="Arial" panose="020B0604020202020204" pitchFamily="34" charset="0"/>
            </a:endParaRPr>
          </a:p>
          <a:p>
            <a:pPr algn="l"/>
            <a:r>
              <a:rPr lang="de-DE" sz="1800" b="0" i="0" u="none" strike="noStrike" baseline="0" dirty="0">
                <a:latin typeface="Arial" panose="020B0604020202020204" pitchFamily="34" charset="0"/>
              </a:rPr>
              <a:t>	</a:t>
            </a:r>
          </a:p>
          <a:p>
            <a:pPr algn="l"/>
            <a:endParaRPr lang="de-DE" sz="1800" dirty="0">
              <a:latin typeface="Arial" panose="020B0604020202020204" pitchFamily="34" charset="0"/>
            </a:endParaRPr>
          </a:p>
          <a:p>
            <a:pPr algn="l"/>
            <a:endParaRPr lang="de-DE" sz="1800" b="0" i="0" u="none" strike="noStrike" baseline="0" dirty="0">
              <a:latin typeface="Arial" panose="020B0604020202020204" pitchFamily="34" charset="0"/>
            </a:endParaRPr>
          </a:p>
          <a:p>
            <a:pPr algn="l"/>
            <a:endParaRPr lang="de-DE" sz="1800" dirty="0">
              <a:latin typeface="Arial" panose="020B0604020202020204" pitchFamily="34" charset="0"/>
            </a:endParaRPr>
          </a:p>
          <a:p>
            <a:pPr algn="l"/>
            <a:endParaRPr lang="de-DE" sz="1800" b="0" i="0" u="none" strike="noStrike" baseline="0" dirty="0">
              <a:latin typeface="Arial" panose="020B0604020202020204" pitchFamily="34" charset="0"/>
            </a:endParaRPr>
          </a:p>
          <a:p>
            <a:endParaRPr lang="de-DE" sz="1000" dirty="0"/>
          </a:p>
          <a:p>
            <a:endParaRPr lang="de-DE" sz="1000" dirty="0"/>
          </a:p>
          <a:p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86503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1575" y="291655"/>
            <a:ext cx="7995211" cy="276273"/>
          </a:xfrm>
        </p:spPr>
        <p:txBody>
          <a:bodyPr>
            <a:normAutofit fontScale="90000"/>
          </a:bodyPr>
          <a:lstStyle/>
          <a:p>
            <a:r>
              <a:rPr lang="de-DE" dirty="0"/>
              <a:t>PANNELLATURA INTERNA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4"/>
          </p:nvPr>
        </p:nvSpPr>
        <p:spPr>
          <a:xfrm>
            <a:off x="7424670" y="4728568"/>
            <a:ext cx="634211" cy="136921"/>
          </a:xfrm>
        </p:spPr>
        <p:txBody>
          <a:bodyPr/>
          <a:lstStyle/>
          <a:p>
            <a:fld id="{AF6D56F3-C1CD-4C4F-BE7D-E5565B30760E}" type="datetime1">
              <a:rPr lang="de-DE" smtClean="0"/>
              <a:t>04.08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5"/>
          </p:nvPr>
        </p:nvSpPr>
        <p:spPr>
          <a:xfrm>
            <a:off x="576000" y="4723200"/>
            <a:ext cx="4641166" cy="139385"/>
          </a:xfrm>
        </p:spPr>
        <p:txBody>
          <a:bodyPr/>
          <a:lstStyle/>
          <a:p>
            <a:r>
              <a:rPr lang="de-DE" dirty="0"/>
              <a:t>&lt;Innenverkleidung&gt; I &lt;RO&gt;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>
          <a:xfrm>
            <a:off x="7955776" y="4726104"/>
            <a:ext cx="374155" cy="139385"/>
          </a:xfrm>
        </p:spPr>
        <p:txBody>
          <a:bodyPr/>
          <a:lstStyle/>
          <a:p>
            <a:fld id="{6887D4EB-4CF4-4464-BEBC-974C839A04E8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7F6DB915-8E4C-43FF-B419-0074E569CD86}"/>
              </a:ext>
            </a:extLst>
          </p:cNvPr>
          <p:cNvSpPr txBox="1"/>
          <p:nvPr/>
        </p:nvSpPr>
        <p:spPr bwMode="gray">
          <a:xfrm>
            <a:off x="411829" y="567928"/>
            <a:ext cx="8069883" cy="4478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dirty="0"/>
          </a:p>
          <a:p>
            <a:endParaRPr lang="de-DE" sz="1000" dirty="0"/>
          </a:p>
          <a:p>
            <a:endParaRPr lang="de-DE" sz="10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xmlns="" id="{C2FA75AD-ADED-4BA6-B008-5DC3A62723DE}"/>
              </a:ext>
            </a:extLst>
          </p:cNvPr>
          <p:cNvSpPr txBox="1"/>
          <p:nvPr/>
        </p:nvSpPr>
        <p:spPr bwMode="gray">
          <a:xfrm>
            <a:off x="4760464" y="2331487"/>
            <a:ext cx="3195311" cy="5731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it-IT" sz="10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Q 117.114	Pareti interne con lamiera in ferro liscia</a:t>
            </a:r>
            <a:r>
              <a:rPr lang="de-DE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</a:p>
        </p:txBody>
      </p:sp>
      <p:pic>
        <p:nvPicPr>
          <p:cNvPr id="12" name="Grafik 11" descr="Ein Bild, das drinnen, schwarz enthält.&#10;&#10;Automatisch generierte Beschreibung">
            <a:extLst>
              <a:ext uri="{FF2B5EF4-FFF2-40B4-BE49-F238E27FC236}">
                <a16:creationId xmlns:a16="http://schemas.microsoft.com/office/drawing/2014/main" xmlns="" id="{BF69EF76-7D36-43BD-BB9E-FA7C6BF835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0464" y="2763576"/>
            <a:ext cx="2294871" cy="1721713"/>
          </a:xfrm>
          <a:prstGeom prst="rect">
            <a:avLst/>
          </a:prstGeom>
        </p:spPr>
      </p:pic>
      <p:pic>
        <p:nvPicPr>
          <p:cNvPr id="13" name="Grafik 12" descr="Ein Bild, das Text, schwarz enthält.&#10;&#10;Automatisch generierte Beschreibung">
            <a:extLst>
              <a:ext uri="{FF2B5EF4-FFF2-40B4-BE49-F238E27FC236}">
                <a16:creationId xmlns:a16="http://schemas.microsoft.com/office/drawing/2014/main" xmlns="" id="{45EB0DF8-B23D-4774-ACAF-7FEF629DD2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74" y="1253654"/>
            <a:ext cx="3840508" cy="2556743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835A6BCA-08D0-4DB7-A7AF-FB7FB9ED28B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0464" y="609774"/>
            <a:ext cx="2401172" cy="1800879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xmlns="" id="{F25D21D6-32CA-4A6E-8587-CDDCD0DFAE98}"/>
              </a:ext>
            </a:extLst>
          </p:cNvPr>
          <p:cNvSpPr txBox="1"/>
          <p:nvPr/>
        </p:nvSpPr>
        <p:spPr bwMode="gray">
          <a:xfrm>
            <a:off x="571575" y="3266711"/>
            <a:ext cx="1061781" cy="11168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0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de-DE" sz="1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de-DE" sz="10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it-IT" sz="10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Q 089.002	Rivestimento interno</a:t>
            </a:r>
            <a:r>
              <a:rPr lang="it-IT" sz="1000" b="0" i="0" u="none" strike="noStrike" dirty="0">
                <a:solidFill>
                  <a:srgbClr val="000000"/>
                </a:solidFill>
                <a:latin typeface="Arial" panose="020B0604020202020204" pitchFamily="34" charset="0"/>
              </a:rPr>
              <a:t> in feltro alle pareti laterali</a:t>
            </a:r>
            <a:r>
              <a:rPr lang="it-IT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</a:p>
          <a:p>
            <a:endParaRPr lang="de-DE" dirty="0" err="1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xmlns="" id="{C64C7CBF-7893-40C4-9983-BB212FB0F373}"/>
              </a:ext>
            </a:extLst>
          </p:cNvPr>
          <p:cNvSpPr txBox="1"/>
          <p:nvPr/>
        </p:nvSpPr>
        <p:spPr bwMode="gray">
          <a:xfrm>
            <a:off x="4760465" y="4383536"/>
            <a:ext cx="3643738" cy="293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0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Q 117.200	Pareti interne con rivestimento interno in legno</a:t>
            </a:r>
            <a:r>
              <a:rPr lang="it-IT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</a:p>
          <a:p>
            <a:endParaRPr lang="de-DE" dirty="0" err="1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xmlns="" id="{5CC701DE-1EF2-4593-8474-0494E2AE3CBF}"/>
              </a:ext>
            </a:extLst>
          </p:cNvPr>
          <p:cNvSpPr txBox="1"/>
          <p:nvPr/>
        </p:nvSpPr>
        <p:spPr bwMode="gray">
          <a:xfrm>
            <a:off x="576000" y="4575572"/>
            <a:ext cx="1445057" cy="7223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600" b="0" i="0" u="none" strike="noStrike" baseline="0" dirty="0">
                <a:latin typeface="Arial" panose="020B0604020202020204" pitchFamily="34" charset="0"/>
              </a:rPr>
              <a:t>Optional: Q 056.040 </a:t>
            </a:r>
            <a:r>
              <a:rPr lang="it-IT" sz="600" b="0" i="0" u="none" strike="noStrike" baseline="0" dirty="0">
                <a:latin typeface="Arial" panose="020B0604020202020204" pitchFamily="34" charset="0"/>
              </a:rPr>
              <a:t>2 fasce </a:t>
            </a:r>
            <a:r>
              <a:rPr lang="it-IT" sz="600" b="0" i="0" u="none" strike="noStrike" baseline="0" dirty="0" err="1">
                <a:latin typeface="Arial" panose="020B0604020202020204" pitchFamily="34" charset="0"/>
              </a:rPr>
              <a:t>fermacarico</a:t>
            </a:r>
            <a:r>
              <a:rPr lang="it-IT" sz="600" b="0" i="0" u="none" strike="noStrike" baseline="0" dirty="0">
                <a:latin typeface="Arial" panose="020B0604020202020204" pitchFamily="34" charset="0"/>
              </a:rPr>
              <a:t> incassate orizzontalmente</a:t>
            </a:r>
            <a:r>
              <a:rPr lang="it-IT" sz="600" b="0" i="0" u="none" strike="noStrike" dirty="0">
                <a:latin typeface="Arial" panose="020B0604020202020204" pitchFamily="34" charset="0"/>
              </a:rPr>
              <a:t> nelle pareti laterali</a:t>
            </a:r>
            <a:endParaRPr lang="it-IT" sz="600" dirty="0"/>
          </a:p>
        </p:txBody>
      </p:sp>
    </p:spTree>
    <p:extLst>
      <p:ext uri="{BB962C8B-B14F-4D97-AF65-F5344CB8AC3E}">
        <p14:creationId xmlns:p14="http://schemas.microsoft.com/office/powerpoint/2010/main" val="74284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rone Master">
  <a:themeElements>
    <a:clrScheme name="Krone">
      <a:dk1>
        <a:sysClr val="windowText" lastClr="000000"/>
      </a:dk1>
      <a:lt1>
        <a:sysClr val="window" lastClr="FFFFFF"/>
      </a:lt1>
      <a:dk2>
        <a:srgbClr val="69A841"/>
      </a:dk2>
      <a:lt2>
        <a:srgbClr val="9D9D9D"/>
      </a:lt2>
      <a:accent1>
        <a:srgbClr val="00639F"/>
      </a:accent1>
      <a:accent2>
        <a:srgbClr val="4086B8"/>
      </a:accent2>
      <a:accent3>
        <a:srgbClr val="7FA8D1"/>
      </a:accent3>
      <a:accent4>
        <a:srgbClr val="646464"/>
      </a:accent4>
      <a:accent5>
        <a:srgbClr val="9B9B9B"/>
      </a:accent5>
      <a:accent6>
        <a:srgbClr val="D2D2D2"/>
      </a:accent6>
      <a:hlink>
        <a:srgbClr val="00639F"/>
      </a:hlink>
      <a:folHlink>
        <a:srgbClr val="7FA8D1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Krone">
      <a:dk1>
        <a:sysClr val="windowText" lastClr="000000"/>
      </a:dk1>
      <a:lt1>
        <a:sysClr val="window" lastClr="FFFFFF"/>
      </a:lt1>
      <a:dk2>
        <a:srgbClr val="B0D49A"/>
      </a:dk2>
      <a:lt2>
        <a:srgbClr val="9D9D9D"/>
      </a:lt2>
      <a:accent1>
        <a:srgbClr val="00639F"/>
      </a:accent1>
      <a:accent2>
        <a:srgbClr val="4086B8"/>
      </a:accent2>
      <a:accent3>
        <a:srgbClr val="7FA8D1"/>
      </a:accent3>
      <a:accent4>
        <a:srgbClr val="646464"/>
      </a:accent4>
      <a:accent5>
        <a:srgbClr val="9B9B9B"/>
      </a:accent5>
      <a:accent6>
        <a:srgbClr val="D2D2D2"/>
      </a:accent6>
      <a:hlink>
        <a:srgbClr val="00639F"/>
      </a:hlink>
      <a:folHlink>
        <a:srgbClr val="4086B8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Krone">
      <a:dk1>
        <a:sysClr val="windowText" lastClr="000000"/>
      </a:dk1>
      <a:lt1>
        <a:sysClr val="window" lastClr="FFFFFF"/>
      </a:lt1>
      <a:dk2>
        <a:srgbClr val="B0D49A"/>
      </a:dk2>
      <a:lt2>
        <a:srgbClr val="9D9D9D"/>
      </a:lt2>
      <a:accent1>
        <a:srgbClr val="00639F"/>
      </a:accent1>
      <a:accent2>
        <a:srgbClr val="4086B8"/>
      </a:accent2>
      <a:accent3>
        <a:srgbClr val="7FA8D1"/>
      </a:accent3>
      <a:accent4>
        <a:srgbClr val="646464"/>
      </a:accent4>
      <a:accent5>
        <a:srgbClr val="9B9B9B"/>
      </a:accent5>
      <a:accent6>
        <a:srgbClr val="D2D2D2"/>
      </a:accent6>
      <a:hlink>
        <a:srgbClr val="00639F"/>
      </a:hlink>
      <a:folHlink>
        <a:srgbClr val="4086B8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Krone">
    <a:dk1>
      <a:sysClr val="windowText" lastClr="000000"/>
    </a:dk1>
    <a:lt1>
      <a:sysClr val="window" lastClr="FFFFFF"/>
    </a:lt1>
    <a:dk2>
      <a:srgbClr val="69A841"/>
    </a:dk2>
    <a:lt2>
      <a:srgbClr val="9D9D9D"/>
    </a:lt2>
    <a:accent1>
      <a:srgbClr val="00639F"/>
    </a:accent1>
    <a:accent2>
      <a:srgbClr val="4086B8"/>
    </a:accent2>
    <a:accent3>
      <a:srgbClr val="7FA8D1"/>
    </a:accent3>
    <a:accent4>
      <a:srgbClr val="646464"/>
    </a:accent4>
    <a:accent5>
      <a:srgbClr val="9B9B9B"/>
    </a:accent5>
    <a:accent6>
      <a:srgbClr val="D2D2D2"/>
    </a:accent6>
    <a:hlink>
      <a:srgbClr val="00639F"/>
    </a:hlink>
    <a:folHlink>
      <a:srgbClr val="7FA8D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KRONE Vorlage" ma:contentTypeID="0x010100CA9E2F34EDC649268C878309CEA49F060045FB9EC71CA2F54D8B87759060C9AAD4" ma:contentTypeVersion="3" ma:contentTypeDescription="ContentType für ein Vorlagen-Dokument" ma:contentTypeScope="" ma:versionID="1caf1d063bfeec176029ea2af8b723ec">
  <xsd:schema xmlns:xsd="http://www.w3.org/2001/XMLSchema" xmlns:xs="http://www.w3.org/2001/XMLSchema" xmlns:p="http://schemas.microsoft.com/office/2006/metadata/properties" xmlns:ns2="4d8c0eec-801f-47bd-8555-32adbee908fa" targetNamespace="http://schemas.microsoft.com/office/2006/metadata/properties" ma:root="true" ma:fieldsID="c56db6d743b48b9a9c7de1a52b865338" ns2:_="">
    <xsd:import namespace="4d8c0eec-801f-47bd-8555-32adbee908fa"/>
    <xsd:element name="properties">
      <xsd:complexType>
        <xsd:sequence>
          <xsd:element name="documentManagement">
            <xsd:complexType>
              <xsd:all>
                <xsd:element ref="ns2:o041e42a83c347ab8caee78a243bab80" minOccurs="0"/>
                <xsd:element ref="ns2:TaxCatchAll" minOccurs="0"/>
                <xsd:element ref="ns2:TaxCatchAllLabel" minOccurs="0"/>
                <xsd:element ref="ns2:i9e8274da8a44900880e7cd996654d15" minOccurs="0"/>
                <xsd:element ref="ns2:o071791787c24f719f67347c7396827e" minOccurs="0"/>
                <xsd:element ref="ns2:ed703a902e554225b547c324d81b757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8c0eec-801f-47bd-8555-32adbee908fa" elementFormDefault="qualified">
    <xsd:import namespace="http://schemas.microsoft.com/office/2006/documentManagement/types"/>
    <xsd:import namespace="http://schemas.microsoft.com/office/infopath/2007/PartnerControls"/>
    <xsd:element name="o041e42a83c347ab8caee78a243bab80" ma:index="8" ma:taxonomy="true" ma:internalName="o041e42a83c347ab8caee78a243bab80" ma:taxonomyFieldName="kroneLocation" ma:displayName="Standort" ma:readOnly="false" ma:fieldId="{8041e42a-83c3-47ab-8cae-e78a243bab80}" ma:taxonomyMulti="true" ma:sspId="9e9554cd-245d-4b35-a862-e9b49e53cdcb" ma:termSetId="befe51c7-9cda-4c2b-8077-e13e2775b59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86b12301-cf98-48e4-92b1-a87fb885a512}" ma:internalName="TaxCatchAll" ma:showField="CatchAllData" ma:web="4d8c0eec-801f-47bd-8555-32adbee908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86b12301-cf98-48e4-92b1-a87fb885a512}" ma:internalName="TaxCatchAllLabel" ma:readOnly="true" ma:showField="CatchAllDataLabel" ma:web="4d8c0eec-801f-47bd-8555-32adbee908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9e8274da8a44900880e7cd996654d15" ma:index="12" ma:taxonomy="true" ma:internalName="i9e8274da8a44900880e7cd996654d15" ma:taxonomyFieldName="kroneLanguage" ma:displayName="Sprache" ma:readOnly="false" ma:fieldId="{29e8274d-a8a4-4900-880e-7cd996654d15}" ma:sspId="9e9554cd-245d-4b35-a862-e9b49e53cdcb" ma:termSetId="84537d24-6eaf-4e97-9195-e26b0a7c4c3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071791787c24f719f67347c7396827e" ma:index="14" ma:taxonomy="true" ma:internalName="o071791787c24f719f67347c7396827e" ma:taxonomyFieldName="kroneCompany" ma:displayName="Firma" ma:readOnly="false" ma:fieldId="{80717917-87c2-4f71-9f67-347c7396827e}" ma:taxonomyMulti="true" ma:sspId="9e9554cd-245d-4b35-a862-e9b49e53cdcb" ma:termSetId="7e3cea02-abc0-48fc-a2ba-3210191b677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d703a902e554225b547c324d81b757f" ma:index="16" ma:taxonomy="true" ma:internalName="ed703a902e554225b547c324d81b757f" ma:taxonomyFieldName="kroneDocumentType" ma:displayName="Dokument Typ" ma:readOnly="false" ma:fieldId="{ed703a90-2e55-4225-b547-c324d81b757f}" ma:sspId="9e9554cd-245d-4b35-a862-e9b49e53cdcb" ma:termSetId="964d0648-2cdf-4c75-9b79-3069314e6ef0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d8c0eec-801f-47bd-8555-32adbee908fa">
      <Value>20</Value>
      <Value>4</Value>
      <Value>17</Value>
      <Value>90</Value>
    </TaxCatchAll>
    <ed703a902e554225b547c324d81b757f xmlns="4d8c0eec-801f-47bd-8555-32adbee908fa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äsentationsvorlage</TermName>
          <TermId xmlns="http://schemas.microsoft.com/office/infopath/2007/PartnerControls">7c068be2-2570-4f98-ada0-26af4b789d76</TermId>
        </TermInfo>
      </Terms>
    </ed703a902e554225b547c324d81b757f>
    <o071791787c24f719f67347c7396827e xmlns="4d8c0eec-801f-47bd-8555-32adbee908fa">
      <Terms xmlns="http://schemas.microsoft.com/office/infopath/2007/PartnerControls">
        <TermInfo xmlns="http://schemas.microsoft.com/office/infopath/2007/PartnerControls">
          <TermName xmlns="http://schemas.microsoft.com/office/infopath/2007/PartnerControls">Fahrzeugwerk Bernard Krone GmbH ＆ Co. KG</TermName>
          <TermId xmlns="http://schemas.microsoft.com/office/infopath/2007/PartnerControls">dd6c691a-6a77-4dcc-9c43-0b510885fb50</TermId>
        </TermInfo>
      </Terms>
    </o071791787c24f719f67347c7396827e>
    <i9e8274da8a44900880e7cd996654d15 xmlns="4d8c0eec-801f-47bd-8555-32adbee908fa">
      <Terms xmlns="http://schemas.microsoft.com/office/infopath/2007/PartnerControls">
        <TermInfo xmlns="http://schemas.microsoft.com/office/infopath/2007/PartnerControls">
          <TermName xmlns="http://schemas.microsoft.com/office/infopath/2007/PartnerControls">de-DE</TermName>
          <TermId xmlns="http://schemas.microsoft.com/office/infopath/2007/PartnerControls">b4b6914a-89bd-4b00-9267-ec6823138472</TermId>
        </TermInfo>
      </Terms>
    </i9e8274da8a44900880e7cd996654d15>
    <o041e42a83c347ab8caee78a243bab80 xmlns="4d8c0eec-801f-47bd-8555-32adbee908fa">
      <Terms xmlns="http://schemas.microsoft.com/office/infopath/2007/PartnerControls">
        <TermInfo xmlns="http://schemas.microsoft.com/office/infopath/2007/PartnerControls">
          <TermName xmlns="http://schemas.microsoft.com/office/infopath/2007/PartnerControls">Werlte</TermName>
          <TermId xmlns="http://schemas.microsoft.com/office/infopath/2007/PartnerControls">50fefdbf-2e9c-42f4-9745-57a33c5ec66c</TermId>
        </TermInfo>
      </Terms>
    </o041e42a83c347ab8caee78a243bab80>
  </documentManagement>
</p:properties>
</file>

<file path=customXml/itemProps1.xml><?xml version="1.0" encoding="utf-8"?>
<ds:datastoreItem xmlns:ds="http://schemas.openxmlformats.org/officeDocument/2006/customXml" ds:itemID="{0E4A139D-81FB-40AB-862D-75BA34060E6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9CBAFE5-0BAA-4BEC-9BF2-38EB0ED1E8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8c0eec-801f-47bd-8555-32adbee908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94F43D6-AC89-4331-9F43-14BB559482BE}">
  <ds:schemaRefs>
    <ds:schemaRef ds:uri="http://purl.org/dc/terms/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4d8c0eec-801f-47bd-8555-32adbee908fa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78</TotalTime>
  <Words>1029</Words>
  <Application>Microsoft Office PowerPoint</Application>
  <PresentationFormat>Presentazione su schermo (16:9)</PresentationFormat>
  <Paragraphs>200</Paragraphs>
  <Slides>11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1</vt:i4>
      </vt:variant>
    </vt:vector>
  </HeadingPairs>
  <TitlesOfParts>
    <vt:vector size="17" baseType="lpstr">
      <vt:lpstr>Arial Unicode MS</vt:lpstr>
      <vt:lpstr>Arial</vt:lpstr>
      <vt:lpstr>Calibri</vt:lpstr>
      <vt:lpstr>Times New Roman</vt:lpstr>
      <vt:lpstr>Krone Master</vt:lpstr>
      <vt:lpstr>think-cell Folie</vt:lpstr>
      <vt:lpstr>INFORMAZIONE COMMERCIALE Dry Liner – CASSE MOBILI</vt:lpstr>
      <vt:lpstr>FINESTRA AL TETTO Dry Liner – CASSE MOBILI</vt:lpstr>
      <vt:lpstr>FINESTRE AL TETTO Dry Liner</vt:lpstr>
      <vt:lpstr>FINESTRE AL TETTO CASSE MOBILI</vt:lpstr>
      <vt:lpstr>COLORE TETTO SU Dry Liner E CASSE MOBILI</vt:lpstr>
      <vt:lpstr>COLORE TETTO SU Dry Liner E CASSE MOBILI</vt:lpstr>
      <vt:lpstr>COLORE TETTO SU Dry Liner E CASSE MOBILI</vt:lpstr>
      <vt:lpstr>PANNELLATURA INTERNA</vt:lpstr>
      <vt:lpstr>PANNELLATURA INTERNA</vt:lpstr>
      <vt:lpstr>AGGIORNAMENTO DELLA NORMATIVA EN 12640</vt:lpstr>
      <vt:lpstr>AGGIORNAMENTO DELLA NORMATIVA EN 12640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_Master_NFZ_2018</dc:title>
  <dc:creator>Richenhagen, Simon</dc:creator>
  <cp:lastModifiedBy>Licia Turrini</cp:lastModifiedBy>
  <cp:revision>149</cp:revision>
  <cp:lastPrinted>2022-08-04T14:23:30Z</cp:lastPrinted>
  <dcterms:created xsi:type="dcterms:W3CDTF">2017-04-11T06:38:54Z</dcterms:created>
  <dcterms:modified xsi:type="dcterms:W3CDTF">2022-08-04T14:2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9E2F34EDC649268C878309CEA49F060045FB9EC71CA2F54D8B87759060C9AAD4</vt:lpwstr>
  </property>
  <property fmtid="{D5CDD505-2E9C-101B-9397-08002B2CF9AE}" pid="3" name="kroneCompany">
    <vt:lpwstr>20;#Fahrzeugwerk Bernard Krone GmbH ＆ Co. KG|dd6c691a-6a77-4dcc-9c43-0b510885fb50</vt:lpwstr>
  </property>
  <property fmtid="{D5CDD505-2E9C-101B-9397-08002B2CF9AE}" pid="4" name="kroneLocation">
    <vt:lpwstr>17;#Werlte|50fefdbf-2e9c-42f4-9745-57a33c5ec66c</vt:lpwstr>
  </property>
  <property fmtid="{D5CDD505-2E9C-101B-9397-08002B2CF9AE}" pid="5" name="kroneDocumentType">
    <vt:lpwstr>90;#Präsentationsvorlage|7c068be2-2570-4f98-ada0-26af4b789d76</vt:lpwstr>
  </property>
  <property fmtid="{D5CDD505-2E9C-101B-9397-08002B2CF9AE}" pid="6" name="kroneLanguage">
    <vt:lpwstr>4;#de-DE|b4b6914a-89bd-4b00-9267-ec6823138472</vt:lpwstr>
  </property>
</Properties>
</file>